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523" r:id="rId1"/>
    <p:sldMasterId id="2147484545" r:id="rId2"/>
    <p:sldMasterId id="2147484552" r:id="rId3"/>
    <p:sldMasterId id="2147484559" r:id="rId4"/>
  </p:sldMasterIdLst>
  <p:notesMasterIdLst>
    <p:notesMasterId r:id="rId6"/>
  </p:notesMasterIdLst>
  <p:handoutMasterIdLst>
    <p:handoutMasterId r:id="rId7"/>
  </p:handoutMasterIdLst>
  <p:sldIdLst>
    <p:sldId id="1647" r:id="rId5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ED7D31"/>
    <a:srgbClr val="5ACBF0"/>
    <a:srgbClr val="8597BE"/>
    <a:srgbClr val="0D7595"/>
    <a:srgbClr val="005AA1"/>
    <a:srgbClr val="FCB713"/>
    <a:srgbClr val="002864"/>
    <a:srgbClr val="002050"/>
    <a:srgbClr val="00BC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02" autoAdjust="0"/>
    <p:restoredTop sz="72452" autoAdjust="0"/>
  </p:normalViewPr>
  <p:slideViewPr>
    <p:cSldViewPr snapToGrid="0">
      <p:cViewPr varScale="1">
        <p:scale>
          <a:sx n="81" d="100"/>
          <a:sy n="81" d="100"/>
        </p:scale>
        <p:origin x="1398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69" d="100"/>
          <a:sy n="69" d="100"/>
        </p:scale>
        <p:origin x="3584" y="6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4/5/2018 6:53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3109205" cy="174892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381000" y="2641359"/>
            <a:ext cx="6251154" cy="601789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835527"/>
            <a:ext cx="947103" cy="3068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69855"/>
            <a:ext cx="1926660" cy="24311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81000" y="8835527"/>
            <a:ext cx="48098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200" b="0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Microsoft Business Analytics and AI  Workshop Class Notebook</a:t>
            </a:r>
            <a:endParaRPr lang="en-US" sz="2800" b="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307661" y="142734"/>
            <a:ext cx="45503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0" dirty="0">
                <a:solidFill>
                  <a:srgbClr val="4472C4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Building Solutions with Microsoft Business Analytics and AI – </a:t>
            </a:r>
          </a:p>
          <a:p>
            <a:pPr algn="r"/>
            <a:r>
              <a:rPr lang="en-US" sz="1200" b="0" dirty="0">
                <a:solidFill>
                  <a:srgbClr val="4472C4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Setup</a:t>
            </a:r>
            <a:endParaRPr lang="en-US" sz="2800" b="0" dirty="0">
              <a:solidFill>
                <a:srgbClr val="4472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14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4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4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4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4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3109913" cy="1749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>
              <a:latin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8925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700295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0" y="2959722"/>
            <a:ext cx="2902056" cy="106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83967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545398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816583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567704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802342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247520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512033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170015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436475" cy="658903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99" y="6606832"/>
            <a:ext cx="8550077" cy="387694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3878" y="1632058"/>
            <a:ext cx="12128721" cy="4650299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9937" y="6606832"/>
            <a:ext cx="777278" cy="3876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079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9" r:id="rId1"/>
    <p:sldLayoutId id="2147484535" r:id="rId2"/>
  </p:sldLayoutIdLst>
  <p:transition>
    <p:fade/>
  </p:transition>
  <p:hf hdr="0" ftr="0" dt="0"/>
  <p:txStyles>
    <p:titleStyle>
      <a:lvl1pPr marL="0" algn="l" defTabSz="1109758" rtl="0" eaLnBrk="1" latinLnBrk="0" hangingPunct="1">
        <a:lnSpc>
          <a:spcPct val="90000"/>
        </a:lnSpc>
        <a:spcBef>
          <a:spcPct val="0"/>
        </a:spcBef>
        <a:buNone/>
        <a:defRPr lang="en-US" sz="4080" kern="1200" spc="-59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109758" rtl="0" eaLnBrk="1" latinLnBrk="0" hangingPunct="1">
        <a:spcBef>
          <a:spcPts val="1836"/>
        </a:spcBef>
        <a:buClr>
          <a:srgbClr val="0072C6"/>
        </a:buClr>
        <a:buSzPct val="100000"/>
        <a:buFont typeface="Wingdings" pitchFamily="2" charset="2"/>
        <a:buNone/>
        <a:defRPr sz="2448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85544" indent="-198264" algn="l" defTabSz="1109758" rtl="0" eaLnBrk="1" latinLnBrk="0" hangingPunct="1">
        <a:spcBef>
          <a:spcPct val="20000"/>
        </a:spcBef>
        <a:buFont typeface="Arial" pitchFamily="34" charset="0"/>
        <a:buChar char="•"/>
        <a:defRPr sz="183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76870" indent="-176683" algn="l" defTabSz="1109758" rtl="0" eaLnBrk="1" latinLnBrk="0" hangingPunct="1">
        <a:spcBef>
          <a:spcPct val="20000"/>
        </a:spcBef>
        <a:buFont typeface="Arial" pitchFamily="34" charset="0"/>
        <a:buChar char="•"/>
        <a:defRPr sz="1632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68196" indent="-180730" algn="l" defTabSz="1109758" rtl="0" eaLnBrk="1" latinLnBrk="0" hangingPunct="1">
        <a:spcBef>
          <a:spcPct val="20000"/>
        </a:spcBef>
        <a:buFont typeface="Arial" pitchFamily="34" charset="0"/>
        <a:buChar char="–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310968" indent="-183428" algn="l" defTabSz="1109758" rtl="0" eaLnBrk="1" latinLnBrk="0" hangingPunct="1">
        <a:spcBef>
          <a:spcPct val="20000"/>
        </a:spcBef>
        <a:buFont typeface="Arial" pitchFamily="34" charset="0"/>
        <a:buChar char="»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3051837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60671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161596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71647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1pPr>
      <a:lvl2pPr marL="55488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2pPr>
      <a:lvl3pPr marL="110975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3pPr>
      <a:lvl4pPr marL="1664639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4pPr>
      <a:lvl5pPr marL="221951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5pPr>
      <a:lvl6pPr marL="2774397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6pPr>
      <a:lvl7pPr marL="332927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7pPr>
      <a:lvl8pPr marL="388415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8pPr>
      <a:lvl9pPr marL="4439035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143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7" r:id="rId1"/>
    <p:sldLayoutId id="2147484548" r:id="rId2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227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4" r:id="rId1"/>
    <p:sldLayoutId id="2147484555" r:id="rId2"/>
    <p:sldLayoutId id="2147484558" r:id="rId3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563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1" r:id="rId1"/>
    <p:sldLayoutId id="2147484562" r:id="rId2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122" y="162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122" y="1620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52" name="Group 851"/>
          <p:cNvGrpSpPr/>
          <p:nvPr/>
        </p:nvGrpSpPr>
        <p:grpSpPr>
          <a:xfrm>
            <a:off x="8649742" y="955816"/>
            <a:ext cx="1826854" cy="1826850"/>
            <a:chOff x="8441230" y="913268"/>
            <a:chExt cx="1791196" cy="1791192"/>
          </a:xfrm>
        </p:grpSpPr>
        <p:sp>
          <p:nvSpPr>
            <p:cNvPr id="853" name="Freeform 852"/>
            <p:cNvSpPr>
              <a:spLocks noEditPoints="1"/>
            </p:cNvSpPr>
            <p:nvPr/>
          </p:nvSpPr>
          <p:spPr bwMode="black">
            <a:xfrm>
              <a:off x="9678332" y="1536353"/>
              <a:ext cx="338073" cy="681753"/>
            </a:xfrm>
            <a:custGeom>
              <a:avLst/>
              <a:gdLst/>
              <a:ahLst/>
              <a:cxnLst>
                <a:cxn ang="0">
                  <a:pos x="260" y="0"/>
                </a:cxn>
                <a:cxn ang="0">
                  <a:pos x="7" y="0"/>
                </a:cxn>
                <a:cxn ang="0">
                  <a:pos x="0" y="7"/>
                </a:cxn>
                <a:cxn ang="0">
                  <a:pos x="0" y="112"/>
                </a:cxn>
                <a:cxn ang="0">
                  <a:pos x="0" y="119"/>
                </a:cxn>
                <a:cxn ang="0">
                  <a:pos x="0" y="531"/>
                </a:cxn>
                <a:cxn ang="0">
                  <a:pos x="7" y="538"/>
                </a:cxn>
                <a:cxn ang="0">
                  <a:pos x="260" y="538"/>
                </a:cxn>
                <a:cxn ang="0">
                  <a:pos x="267" y="531"/>
                </a:cxn>
                <a:cxn ang="0">
                  <a:pos x="267" y="119"/>
                </a:cxn>
                <a:cxn ang="0">
                  <a:pos x="267" y="112"/>
                </a:cxn>
                <a:cxn ang="0">
                  <a:pos x="267" y="7"/>
                </a:cxn>
                <a:cxn ang="0">
                  <a:pos x="260" y="0"/>
                </a:cxn>
                <a:cxn ang="0">
                  <a:pos x="32" y="82"/>
                </a:cxn>
                <a:cxn ang="0">
                  <a:pos x="32" y="57"/>
                </a:cxn>
                <a:cxn ang="0">
                  <a:pos x="39" y="50"/>
                </a:cxn>
                <a:cxn ang="0">
                  <a:pos x="228" y="50"/>
                </a:cxn>
                <a:cxn ang="0">
                  <a:pos x="235" y="57"/>
                </a:cxn>
                <a:cxn ang="0">
                  <a:pos x="235" y="82"/>
                </a:cxn>
                <a:cxn ang="0">
                  <a:pos x="228" y="89"/>
                </a:cxn>
                <a:cxn ang="0">
                  <a:pos x="39" y="89"/>
                </a:cxn>
                <a:cxn ang="0">
                  <a:pos x="32" y="82"/>
                </a:cxn>
                <a:cxn ang="0">
                  <a:pos x="213" y="254"/>
                </a:cxn>
                <a:cxn ang="0">
                  <a:pos x="195" y="236"/>
                </a:cxn>
                <a:cxn ang="0">
                  <a:pos x="213" y="218"/>
                </a:cxn>
                <a:cxn ang="0">
                  <a:pos x="232" y="236"/>
                </a:cxn>
                <a:cxn ang="0">
                  <a:pos x="213" y="254"/>
                </a:cxn>
                <a:cxn ang="0">
                  <a:pos x="213" y="194"/>
                </a:cxn>
                <a:cxn ang="0">
                  <a:pos x="189" y="170"/>
                </a:cxn>
                <a:cxn ang="0">
                  <a:pos x="213" y="146"/>
                </a:cxn>
                <a:cxn ang="0">
                  <a:pos x="238" y="170"/>
                </a:cxn>
                <a:cxn ang="0">
                  <a:pos x="213" y="194"/>
                </a:cxn>
              </a:cxnLst>
              <a:rect l="0" t="0" r="r" b="b"/>
              <a:pathLst>
                <a:path w="267" h="538">
                  <a:moveTo>
                    <a:pt x="26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531"/>
                    <a:pt x="0" y="531"/>
                    <a:pt x="0" y="531"/>
                  </a:cubicBezTo>
                  <a:cubicBezTo>
                    <a:pt x="0" y="535"/>
                    <a:pt x="3" y="538"/>
                    <a:pt x="7" y="538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4" y="538"/>
                    <a:pt x="267" y="535"/>
                    <a:pt x="267" y="531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12"/>
                    <a:pt x="267" y="112"/>
                    <a:pt x="267" y="112"/>
                  </a:cubicBezTo>
                  <a:cubicBezTo>
                    <a:pt x="267" y="7"/>
                    <a:pt x="267" y="7"/>
                    <a:pt x="267" y="7"/>
                  </a:cubicBezTo>
                  <a:cubicBezTo>
                    <a:pt x="267" y="3"/>
                    <a:pt x="264" y="0"/>
                    <a:pt x="260" y="0"/>
                  </a:cubicBezTo>
                  <a:close/>
                  <a:moveTo>
                    <a:pt x="32" y="82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2" y="53"/>
                    <a:pt x="35" y="50"/>
                    <a:pt x="39" y="50"/>
                  </a:cubicBezTo>
                  <a:cubicBezTo>
                    <a:pt x="228" y="50"/>
                    <a:pt x="228" y="50"/>
                    <a:pt x="228" y="50"/>
                  </a:cubicBezTo>
                  <a:cubicBezTo>
                    <a:pt x="232" y="50"/>
                    <a:pt x="235" y="53"/>
                    <a:pt x="235" y="57"/>
                  </a:cubicBezTo>
                  <a:cubicBezTo>
                    <a:pt x="235" y="82"/>
                    <a:pt x="235" y="82"/>
                    <a:pt x="235" y="82"/>
                  </a:cubicBezTo>
                  <a:cubicBezTo>
                    <a:pt x="235" y="86"/>
                    <a:pt x="232" y="89"/>
                    <a:pt x="228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5" y="89"/>
                    <a:pt x="32" y="86"/>
                    <a:pt x="32" y="82"/>
                  </a:cubicBezTo>
                  <a:close/>
                  <a:moveTo>
                    <a:pt x="213" y="254"/>
                  </a:moveTo>
                  <a:cubicBezTo>
                    <a:pt x="203" y="254"/>
                    <a:pt x="195" y="246"/>
                    <a:pt x="195" y="236"/>
                  </a:cubicBezTo>
                  <a:cubicBezTo>
                    <a:pt x="195" y="226"/>
                    <a:pt x="203" y="218"/>
                    <a:pt x="213" y="218"/>
                  </a:cubicBezTo>
                  <a:cubicBezTo>
                    <a:pt x="223" y="218"/>
                    <a:pt x="232" y="226"/>
                    <a:pt x="232" y="236"/>
                  </a:cubicBezTo>
                  <a:cubicBezTo>
                    <a:pt x="232" y="246"/>
                    <a:pt x="223" y="254"/>
                    <a:pt x="213" y="254"/>
                  </a:cubicBezTo>
                  <a:close/>
                  <a:moveTo>
                    <a:pt x="213" y="194"/>
                  </a:moveTo>
                  <a:cubicBezTo>
                    <a:pt x="200" y="194"/>
                    <a:pt x="189" y="183"/>
                    <a:pt x="189" y="170"/>
                  </a:cubicBezTo>
                  <a:cubicBezTo>
                    <a:pt x="189" y="156"/>
                    <a:pt x="200" y="146"/>
                    <a:pt x="213" y="146"/>
                  </a:cubicBezTo>
                  <a:cubicBezTo>
                    <a:pt x="227" y="146"/>
                    <a:pt x="238" y="156"/>
                    <a:pt x="238" y="170"/>
                  </a:cubicBezTo>
                  <a:cubicBezTo>
                    <a:pt x="238" y="183"/>
                    <a:pt x="227" y="194"/>
                    <a:pt x="213" y="194"/>
                  </a:cubicBezTo>
                  <a:close/>
                </a:path>
              </a:pathLst>
            </a:custGeom>
            <a:solidFill>
              <a:srgbClr val="80B7E1">
                <a:alpha val="34000"/>
              </a:srgbClr>
            </a:solidFill>
            <a:ln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3256" tIns="46628" rIns="93256" bIns="4662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55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44" b="0" i="0" u="none" strike="noStrike" kern="0" cap="none" spc="-124" normalizeH="0" baseline="0" noProof="0" dirty="0">
                <a:ln>
                  <a:noFill/>
                </a:ln>
                <a:solidFill>
                  <a:srgbClr val="505050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Segoe UI" panose="020B0502040204020203" pitchFamily="34" charset="0"/>
              </a:endParaRPr>
            </a:p>
          </p:txBody>
        </p:sp>
        <p:sp>
          <p:nvSpPr>
            <p:cNvPr id="854" name="Freeform 88"/>
            <p:cNvSpPr>
              <a:spLocks noEditPoints="1"/>
            </p:cNvSpPr>
            <p:nvPr/>
          </p:nvSpPr>
          <p:spPr bwMode="black">
            <a:xfrm>
              <a:off x="8774074" y="1498691"/>
              <a:ext cx="848373" cy="719415"/>
            </a:xfrm>
            <a:custGeom>
              <a:avLst/>
              <a:gdLst/>
              <a:ahLst/>
              <a:cxnLst>
                <a:cxn ang="0">
                  <a:pos x="494" y="0"/>
                </a:cxn>
                <a:cxn ang="0">
                  <a:pos x="17" y="0"/>
                </a:cxn>
                <a:cxn ang="0">
                  <a:pos x="0" y="16"/>
                </a:cxn>
                <a:cxn ang="0">
                  <a:pos x="0" y="361"/>
                </a:cxn>
                <a:cxn ang="0">
                  <a:pos x="17" y="377"/>
                </a:cxn>
                <a:cxn ang="0">
                  <a:pos x="174" y="377"/>
                </a:cxn>
                <a:cxn ang="0">
                  <a:pos x="174" y="402"/>
                </a:cxn>
                <a:cxn ang="0">
                  <a:pos x="139" y="435"/>
                </a:cxn>
                <a:cxn ang="0">
                  <a:pos x="380" y="435"/>
                </a:cxn>
                <a:cxn ang="0">
                  <a:pos x="346" y="402"/>
                </a:cxn>
                <a:cxn ang="0">
                  <a:pos x="346" y="377"/>
                </a:cxn>
                <a:cxn ang="0">
                  <a:pos x="494" y="377"/>
                </a:cxn>
                <a:cxn ang="0">
                  <a:pos x="510" y="361"/>
                </a:cxn>
                <a:cxn ang="0">
                  <a:pos x="510" y="16"/>
                </a:cxn>
                <a:cxn ang="0">
                  <a:pos x="494" y="0"/>
                </a:cxn>
                <a:cxn ang="0">
                  <a:pos x="481" y="335"/>
                </a:cxn>
                <a:cxn ang="0">
                  <a:pos x="467" y="349"/>
                </a:cxn>
                <a:cxn ang="0">
                  <a:pos x="44" y="349"/>
                </a:cxn>
                <a:cxn ang="0">
                  <a:pos x="30" y="335"/>
                </a:cxn>
                <a:cxn ang="0">
                  <a:pos x="30" y="42"/>
                </a:cxn>
                <a:cxn ang="0">
                  <a:pos x="44" y="28"/>
                </a:cxn>
                <a:cxn ang="0">
                  <a:pos x="467" y="28"/>
                </a:cxn>
                <a:cxn ang="0">
                  <a:pos x="481" y="42"/>
                </a:cxn>
                <a:cxn ang="0">
                  <a:pos x="481" y="335"/>
                </a:cxn>
              </a:cxnLst>
              <a:rect l="0" t="0" r="r" b="b"/>
              <a:pathLst>
                <a:path w="510" h="435">
                  <a:moveTo>
                    <a:pt x="494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61"/>
                    <a:pt x="0" y="361"/>
                    <a:pt x="0" y="361"/>
                  </a:cubicBezTo>
                  <a:cubicBezTo>
                    <a:pt x="0" y="370"/>
                    <a:pt x="8" y="377"/>
                    <a:pt x="17" y="377"/>
                  </a:cubicBezTo>
                  <a:cubicBezTo>
                    <a:pt x="174" y="377"/>
                    <a:pt x="174" y="377"/>
                    <a:pt x="174" y="377"/>
                  </a:cubicBezTo>
                  <a:cubicBezTo>
                    <a:pt x="174" y="402"/>
                    <a:pt x="174" y="402"/>
                    <a:pt x="174" y="402"/>
                  </a:cubicBezTo>
                  <a:cubicBezTo>
                    <a:pt x="139" y="435"/>
                    <a:pt x="139" y="435"/>
                    <a:pt x="139" y="435"/>
                  </a:cubicBezTo>
                  <a:cubicBezTo>
                    <a:pt x="380" y="435"/>
                    <a:pt x="380" y="435"/>
                    <a:pt x="380" y="435"/>
                  </a:cubicBezTo>
                  <a:cubicBezTo>
                    <a:pt x="346" y="402"/>
                    <a:pt x="346" y="402"/>
                    <a:pt x="346" y="402"/>
                  </a:cubicBezTo>
                  <a:cubicBezTo>
                    <a:pt x="346" y="377"/>
                    <a:pt x="346" y="377"/>
                    <a:pt x="346" y="377"/>
                  </a:cubicBezTo>
                  <a:cubicBezTo>
                    <a:pt x="494" y="377"/>
                    <a:pt x="494" y="377"/>
                    <a:pt x="494" y="377"/>
                  </a:cubicBezTo>
                  <a:cubicBezTo>
                    <a:pt x="503" y="377"/>
                    <a:pt x="510" y="370"/>
                    <a:pt x="510" y="361"/>
                  </a:cubicBezTo>
                  <a:cubicBezTo>
                    <a:pt x="510" y="16"/>
                    <a:pt x="510" y="16"/>
                    <a:pt x="510" y="16"/>
                  </a:cubicBezTo>
                  <a:cubicBezTo>
                    <a:pt x="510" y="7"/>
                    <a:pt x="503" y="0"/>
                    <a:pt x="494" y="0"/>
                  </a:cubicBezTo>
                  <a:close/>
                  <a:moveTo>
                    <a:pt x="481" y="335"/>
                  </a:moveTo>
                  <a:cubicBezTo>
                    <a:pt x="481" y="343"/>
                    <a:pt x="475" y="349"/>
                    <a:pt x="467" y="349"/>
                  </a:cubicBezTo>
                  <a:cubicBezTo>
                    <a:pt x="44" y="349"/>
                    <a:pt x="44" y="349"/>
                    <a:pt x="44" y="349"/>
                  </a:cubicBezTo>
                  <a:cubicBezTo>
                    <a:pt x="36" y="349"/>
                    <a:pt x="30" y="343"/>
                    <a:pt x="30" y="335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34"/>
                    <a:pt x="36" y="28"/>
                    <a:pt x="44" y="28"/>
                  </a:cubicBezTo>
                  <a:cubicBezTo>
                    <a:pt x="467" y="28"/>
                    <a:pt x="467" y="28"/>
                    <a:pt x="467" y="28"/>
                  </a:cubicBezTo>
                  <a:cubicBezTo>
                    <a:pt x="475" y="28"/>
                    <a:pt x="481" y="34"/>
                    <a:pt x="481" y="42"/>
                  </a:cubicBezTo>
                  <a:lnTo>
                    <a:pt x="481" y="335"/>
                  </a:lnTo>
                  <a:close/>
                </a:path>
              </a:pathLst>
            </a:custGeom>
            <a:solidFill>
              <a:srgbClr val="80B7E1">
                <a:alpha val="34000"/>
              </a:srgbClr>
            </a:solidFill>
            <a:ln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3256" tIns="46628" rIns="93256" bIns="4662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55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44" b="0" i="0" u="none" strike="noStrike" kern="0" cap="none" spc="-124" normalizeH="0" baseline="0" noProof="0" dirty="0">
                <a:ln>
                  <a:noFill/>
                </a:ln>
                <a:solidFill>
                  <a:srgbClr val="505050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Segoe UI" panose="020B0502040204020203" pitchFamily="34" charset="0"/>
              </a:endParaRPr>
            </a:p>
          </p:txBody>
        </p:sp>
        <p:sp>
          <p:nvSpPr>
            <p:cNvPr id="855" name="Rounded Rectangle 47"/>
            <p:cNvSpPr/>
            <p:nvPr/>
          </p:nvSpPr>
          <p:spPr>
            <a:xfrm rot="5400000">
              <a:off x="8441232" y="913266"/>
              <a:ext cx="1791192" cy="1791196"/>
            </a:xfrm>
            <a:custGeom>
              <a:avLst/>
              <a:gdLst/>
              <a:ahLst/>
              <a:cxnLst/>
              <a:rect l="l" t="t" r="r" b="b"/>
              <a:pathLst>
                <a:path w="4796166" h="4796165">
                  <a:moveTo>
                    <a:pt x="4535493" y="1516069"/>
                  </a:moveTo>
                  <a:lnTo>
                    <a:pt x="4535493" y="921709"/>
                  </a:lnTo>
                  <a:lnTo>
                    <a:pt x="4697104" y="921709"/>
                  </a:lnTo>
                  <a:cubicBezTo>
                    <a:pt x="4751814" y="921709"/>
                    <a:pt x="4796166" y="966061"/>
                    <a:pt x="4796166" y="1020771"/>
                  </a:cubicBezTo>
                  <a:lnTo>
                    <a:pt x="4796166" y="1417007"/>
                  </a:lnTo>
                  <a:cubicBezTo>
                    <a:pt x="4796166" y="1471717"/>
                    <a:pt x="4751814" y="1516069"/>
                    <a:pt x="4697104" y="1516069"/>
                  </a:cubicBezTo>
                  <a:close/>
                  <a:moveTo>
                    <a:pt x="4535493" y="2695264"/>
                  </a:moveTo>
                  <a:lnTo>
                    <a:pt x="4535493" y="2100904"/>
                  </a:lnTo>
                  <a:lnTo>
                    <a:pt x="4697104" y="2100904"/>
                  </a:lnTo>
                  <a:cubicBezTo>
                    <a:pt x="4751814" y="2100904"/>
                    <a:pt x="4796166" y="2145256"/>
                    <a:pt x="4796166" y="2199966"/>
                  </a:cubicBezTo>
                  <a:lnTo>
                    <a:pt x="4796166" y="2596202"/>
                  </a:lnTo>
                  <a:cubicBezTo>
                    <a:pt x="4796166" y="2650912"/>
                    <a:pt x="4751814" y="2695264"/>
                    <a:pt x="4697104" y="2695264"/>
                  </a:cubicBezTo>
                  <a:close/>
                  <a:moveTo>
                    <a:pt x="4535493" y="3874459"/>
                  </a:moveTo>
                  <a:lnTo>
                    <a:pt x="4535493" y="3280099"/>
                  </a:lnTo>
                  <a:lnTo>
                    <a:pt x="4697104" y="3280099"/>
                  </a:lnTo>
                  <a:cubicBezTo>
                    <a:pt x="4751814" y="3280099"/>
                    <a:pt x="4796166" y="3324451"/>
                    <a:pt x="4796166" y="3379161"/>
                  </a:cubicBezTo>
                  <a:lnTo>
                    <a:pt x="4796166" y="3775397"/>
                  </a:lnTo>
                  <a:cubicBezTo>
                    <a:pt x="4796166" y="3830107"/>
                    <a:pt x="4751814" y="3874459"/>
                    <a:pt x="4697104" y="3874459"/>
                  </a:cubicBezTo>
                  <a:close/>
                  <a:moveTo>
                    <a:pt x="3280098" y="260673"/>
                  </a:moveTo>
                  <a:lnTo>
                    <a:pt x="3280098" y="99062"/>
                  </a:lnTo>
                  <a:cubicBezTo>
                    <a:pt x="3280098" y="44352"/>
                    <a:pt x="3324450" y="0"/>
                    <a:pt x="3379160" y="0"/>
                  </a:cubicBezTo>
                  <a:lnTo>
                    <a:pt x="3775396" y="0"/>
                  </a:lnTo>
                  <a:cubicBezTo>
                    <a:pt x="3830106" y="0"/>
                    <a:pt x="3874458" y="44352"/>
                    <a:pt x="3874458" y="99062"/>
                  </a:cubicBezTo>
                  <a:lnTo>
                    <a:pt x="3874458" y="260673"/>
                  </a:lnTo>
                  <a:close/>
                  <a:moveTo>
                    <a:pt x="3280098" y="4697103"/>
                  </a:moveTo>
                  <a:lnTo>
                    <a:pt x="3280098" y="4535493"/>
                  </a:lnTo>
                  <a:lnTo>
                    <a:pt x="3874458" y="4535493"/>
                  </a:lnTo>
                  <a:lnTo>
                    <a:pt x="3874458" y="4697103"/>
                  </a:lnTo>
                  <a:cubicBezTo>
                    <a:pt x="3874458" y="4751813"/>
                    <a:pt x="3830106" y="4796165"/>
                    <a:pt x="3775396" y="4796165"/>
                  </a:cubicBezTo>
                  <a:lnTo>
                    <a:pt x="3379160" y="4796165"/>
                  </a:lnTo>
                  <a:cubicBezTo>
                    <a:pt x="3324450" y="4796165"/>
                    <a:pt x="3280098" y="4751813"/>
                    <a:pt x="3280098" y="4697103"/>
                  </a:cubicBezTo>
                  <a:close/>
                  <a:moveTo>
                    <a:pt x="2100903" y="260673"/>
                  </a:moveTo>
                  <a:lnTo>
                    <a:pt x="2100903" y="99062"/>
                  </a:lnTo>
                  <a:cubicBezTo>
                    <a:pt x="2100903" y="44352"/>
                    <a:pt x="2145255" y="0"/>
                    <a:pt x="2199965" y="0"/>
                  </a:cubicBezTo>
                  <a:lnTo>
                    <a:pt x="2596201" y="0"/>
                  </a:lnTo>
                  <a:cubicBezTo>
                    <a:pt x="2650911" y="0"/>
                    <a:pt x="2695263" y="44352"/>
                    <a:pt x="2695263" y="99062"/>
                  </a:cubicBezTo>
                  <a:lnTo>
                    <a:pt x="2695263" y="260673"/>
                  </a:lnTo>
                  <a:close/>
                  <a:moveTo>
                    <a:pt x="2100903" y="4697103"/>
                  </a:moveTo>
                  <a:lnTo>
                    <a:pt x="2100903" y="4535493"/>
                  </a:lnTo>
                  <a:lnTo>
                    <a:pt x="2695263" y="4535493"/>
                  </a:lnTo>
                  <a:lnTo>
                    <a:pt x="2695263" y="4697103"/>
                  </a:lnTo>
                  <a:cubicBezTo>
                    <a:pt x="2695263" y="4751813"/>
                    <a:pt x="2650911" y="4796165"/>
                    <a:pt x="2596201" y="4796165"/>
                  </a:cubicBezTo>
                  <a:lnTo>
                    <a:pt x="2199965" y="4796165"/>
                  </a:lnTo>
                  <a:cubicBezTo>
                    <a:pt x="2145255" y="4796165"/>
                    <a:pt x="2100903" y="4751813"/>
                    <a:pt x="2100903" y="4697103"/>
                  </a:cubicBezTo>
                  <a:close/>
                  <a:moveTo>
                    <a:pt x="921708" y="260673"/>
                  </a:moveTo>
                  <a:lnTo>
                    <a:pt x="921708" y="99062"/>
                  </a:lnTo>
                  <a:cubicBezTo>
                    <a:pt x="921708" y="44352"/>
                    <a:pt x="966060" y="0"/>
                    <a:pt x="1020770" y="0"/>
                  </a:cubicBezTo>
                  <a:lnTo>
                    <a:pt x="1417006" y="0"/>
                  </a:lnTo>
                  <a:cubicBezTo>
                    <a:pt x="1471716" y="0"/>
                    <a:pt x="1516068" y="44352"/>
                    <a:pt x="1516068" y="99062"/>
                  </a:cubicBezTo>
                  <a:lnTo>
                    <a:pt x="1516068" y="260673"/>
                  </a:lnTo>
                  <a:close/>
                  <a:moveTo>
                    <a:pt x="921708" y="4697103"/>
                  </a:moveTo>
                  <a:lnTo>
                    <a:pt x="921708" y="4535493"/>
                  </a:lnTo>
                  <a:lnTo>
                    <a:pt x="1516068" y="4535493"/>
                  </a:lnTo>
                  <a:lnTo>
                    <a:pt x="1516068" y="4697103"/>
                  </a:lnTo>
                  <a:cubicBezTo>
                    <a:pt x="1516068" y="4751813"/>
                    <a:pt x="1471716" y="4796165"/>
                    <a:pt x="1417006" y="4796165"/>
                  </a:cubicBezTo>
                  <a:lnTo>
                    <a:pt x="1020770" y="4796165"/>
                  </a:lnTo>
                  <a:cubicBezTo>
                    <a:pt x="966060" y="4796165"/>
                    <a:pt x="921708" y="4751813"/>
                    <a:pt x="921708" y="4697103"/>
                  </a:cubicBezTo>
                  <a:close/>
                  <a:moveTo>
                    <a:pt x="0" y="1417007"/>
                  </a:moveTo>
                  <a:lnTo>
                    <a:pt x="0" y="1020771"/>
                  </a:lnTo>
                  <a:cubicBezTo>
                    <a:pt x="0" y="966061"/>
                    <a:pt x="44352" y="921709"/>
                    <a:pt x="99062" y="921709"/>
                  </a:cubicBezTo>
                  <a:lnTo>
                    <a:pt x="260673" y="921709"/>
                  </a:lnTo>
                  <a:lnTo>
                    <a:pt x="260673" y="1516069"/>
                  </a:lnTo>
                  <a:lnTo>
                    <a:pt x="99062" y="1516069"/>
                  </a:lnTo>
                  <a:cubicBezTo>
                    <a:pt x="44352" y="1516069"/>
                    <a:pt x="0" y="1471717"/>
                    <a:pt x="0" y="1417007"/>
                  </a:cubicBezTo>
                  <a:close/>
                  <a:moveTo>
                    <a:pt x="0" y="2596202"/>
                  </a:moveTo>
                  <a:lnTo>
                    <a:pt x="0" y="2199966"/>
                  </a:lnTo>
                  <a:cubicBezTo>
                    <a:pt x="0" y="2145256"/>
                    <a:pt x="44352" y="2100904"/>
                    <a:pt x="99062" y="2100904"/>
                  </a:cubicBezTo>
                  <a:lnTo>
                    <a:pt x="260673" y="2100904"/>
                  </a:lnTo>
                  <a:lnTo>
                    <a:pt x="260673" y="2695264"/>
                  </a:lnTo>
                  <a:lnTo>
                    <a:pt x="99062" y="2695264"/>
                  </a:lnTo>
                  <a:cubicBezTo>
                    <a:pt x="44352" y="2695264"/>
                    <a:pt x="0" y="2650912"/>
                    <a:pt x="0" y="2596202"/>
                  </a:cubicBezTo>
                  <a:close/>
                  <a:moveTo>
                    <a:pt x="0" y="3775397"/>
                  </a:moveTo>
                  <a:lnTo>
                    <a:pt x="0" y="3379161"/>
                  </a:lnTo>
                  <a:cubicBezTo>
                    <a:pt x="0" y="3324451"/>
                    <a:pt x="44352" y="3280099"/>
                    <a:pt x="99062" y="3280099"/>
                  </a:cubicBezTo>
                  <a:lnTo>
                    <a:pt x="260673" y="3280099"/>
                  </a:lnTo>
                  <a:lnTo>
                    <a:pt x="260673" y="3874459"/>
                  </a:lnTo>
                  <a:lnTo>
                    <a:pt x="99062" y="3874459"/>
                  </a:lnTo>
                  <a:cubicBezTo>
                    <a:pt x="44352" y="3874459"/>
                    <a:pt x="0" y="3830107"/>
                    <a:pt x="0" y="3775397"/>
                  </a:cubicBezTo>
                  <a:close/>
                </a:path>
              </a:pathLst>
            </a:custGeom>
            <a:solidFill>
              <a:srgbClr val="80B7E1">
                <a:alpha val="34000"/>
              </a:srgbClr>
            </a:solidFill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431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46" b="0" i="0" u="none" strike="noStrike" kern="0" cap="none" spc="0" normalizeH="0" baseline="0" noProof="0" dirty="0">
                <a:ln>
                  <a:solidFill>
                    <a:srgbClr val="50505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855"/>
            <p:cNvSpPr/>
            <p:nvPr/>
          </p:nvSpPr>
          <p:spPr>
            <a:xfrm>
              <a:off x="8576999" y="1049038"/>
              <a:ext cx="1519656" cy="1519652"/>
            </a:xfrm>
            <a:custGeom>
              <a:avLst/>
              <a:gdLst>
                <a:gd name="connsiteX0" fmla="*/ 93115 w 1243081"/>
                <a:gd name="connsiteY0" fmla="*/ 39574 h 1243078"/>
                <a:gd name="connsiteX1" fmla="*/ 84364 w 1243081"/>
                <a:gd name="connsiteY1" fmla="*/ 41341 h 1243078"/>
                <a:gd name="connsiteX2" fmla="*/ 37097 w 1243081"/>
                <a:gd name="connsiteY2" fmla="*/ 41341 h 1243078"/>
                <a:gd name="connsiteX3" fmla="*/ 37097 w 1243081"/>
                <a:gd name="connsiteY3" fmla="*/ 1201739 h 1243078"/>
                <a:gd name="connsiteX4" fmla="*/ 1205984 w 1243081"/>
                <a:gd name="connsiteY4" fmla="*/ 1201739 h 1243078"/>
                <a:gd name="connsiteX5" fmla="*/ 1205984 w 1243081"/>
                <a:gd name="connsiteY5" fmla="*/ 41341 h 1243078"/>
                <a:gd name="connsiteX6" fmla="*/ 101866 w 1243081"/>
                <a:gd name="connsiteY6" fmla="*/ 41341 h 1243078"/>
                <a:gd name="connsiteX7" fmla="*/ 0 w 1243081"/>
                <a:gd name="connsiteY7" fmla="*/ 0 h 1243078"/>
                <a:gd name="connsiteX8" fmla="*/ 1243081 w 1243081"/>
                <a:gd name="connsiteY8" fmla="*/ 0 h 1243078"/>
                <a:gd name="connsiteX9" fmla="*/ 1243081 w 1243081"/>
                <a:gd name="connsiteY9" fmla="*/ 1243078 h 1243078"/>
                <a:gd name="connsiteX10" fmla="*/ 0 w 1243081"/>
                <a:gd name="connsiteY10" fmla="*/ 1243078 h 124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3081" h="1243078">
                  <a:moveTo>
                    <a:pt x="93115" y="39574"/>
                  </a:moveTo>
                  <a:lnTo>
                    <a:pt x="84364" y="41341"/>
                  </a:lnTo>
                  <a:lnTo>
                    <a:pt x="37097" y="41341"/>
                  </a:lnTo>
                  <a:lnTo>
                    <a:pt x="37097" y="1201739"/>
                  </a:lnTo>
                  <a:lnTo>
                    <a:pt x="1205984" y="1201739"/>
                  </a:lnTo>
                  <a:lnTo>
                    <a:pt x="1205984" y="41341"/>
                  </a:lnTo>
                  <a:lnTo>
                    <a:pt x="101866" y="41341"/>
                  </a:lnTo>
                  <a:close/>
                  <a:moveTo>
                    <a:pt x="0" y="0"/>
                  </a:moveTo>
                  <a:lnTo>
                    <a:pt x="1243081" y="0"/>
                  </a:lnTo>
                  <a:lnTo>
                    <a:pt x="1243081" y="1243078"/>
                  </a:lnTo>
                  <a:lnTo>
                    <a:pt x="0" y="1243078"/>
                  </a:lnTo>
                  <a:close/>
                </a:path>
              </a:pathLst>
            </a:custGeom>
            <a:solidFill>
              <a:srgbClr val="80B7E1">
                <a:alpha val="34000"/>
              </a:srgbClr>
            </a:solidFill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431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46" b="0" i="0" u="none" strike="noStrike" kern="0" cap="none" spc="0" normalizeH="0" baseline="0" noProof="0" dirty="0">
                <a:ln>
                  <a:solidFill>
                    <a:srgbClr val="50505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831" name="Freeform 830"/>
          <p:cNvSpPr/>
          <p:nvPr/>
        </p:nvSpPr>
        <p:spPr>
          <a:xfrm rot="18900000">
            <a:off x="2292982" y="2959300"/>
            <a:ext cx="200769" cy="766144"/>
          </a:xfrm>
          <a:custGeom>
            <a:avLst/>
            <a:gdLst>
              <a:gd name="connsiteX0" fmla="*/ 482600 w 482600"/>
              <a:gd name="connsiteY0" fmla="*/ 0 h 1758950"/>
              <a:gd name="connsiteX1" fmla="*/ 0 w 482600"/>
              <a:gd name="connsiteY1" fmla="*/ 488950 h 1758950"/>
              <a:gd name="connsiteX2" fmla="*/ 0 w 482600"/>
              <a:gd name="connsiteY2" fmla="*/ 1517650 h 1758950"/>
              <a:gd name="connsiteX3" fmla="*/ 196850 w 482600"/>
              <a:gd name="connsiteY3" fmla="*/ 1701800 h 1758950"/>
              <a:gd name="connsiteX4" fmla="*/ 196850 w 482600"/>
              <a:gd name="connsiteY4" fmla="*/ 1758950 h 1758950"/>
              <a:gd name="connsiteX0" fmla="*/ 482600 w 482600"/>
              <a:gd name="connsiteY0" fmla="*/ 0 h 1758950"/>
              <a:gd name="connsiteX1" fmla="*/ 0 w 482600"/>
              <a:gd name="connsiteY1" fmla="*/ 488950 h 1758950"/>
              <a:gd name="connsiteX2" fmla="*/ 3767 w 482600"/>
              <a:gd name="connsiteY2" fmla="*/ 1007760 h 1758950"/>
              <a:gd name="connsiteX3" fmla="*/ 0 w 482600"/>
              <a:gd name="connsiteY3" fmla="*/ 1517650 h 1758950"/>
              <a:gd name="connsiteX4" fmla="*/ 196850 w 482600"/>
              <a:gd name="connsiteY4" fmla="*/ 1701800 h 1758950"/>
              <a:gd name="connsiteX5" fmla="*/ 196850 w 482600"/>
              <a:gd name="connsiteY5" fmla="*/ 1758950 h 1758950"/>
              <a:gd name="connsiteX0" fmla="*/ 0 w 196850"/>
              <a:gd name="connsiteY0" fmla="*/ 0 h 1270000"/>
              <a:gd name="connsiteX1" fmla="*/ 3767 w 196850"/>
              <a:gd name="connsiteY1" fmla="*/ 518810 h 1270000"/>
              <a:gd name="connsiteX2" fmla="*/ 0 w 196850"/>
              <a:gd name="connsiteY2" fmla="*/ 1028700 h 1270000"/>
              <a:gd name="connsiteX3" fmla="*/ 196850 w 196850"/>
              <a:gd name="connsiteY3" fmla="*/ 1212850 h 1270000"/>
              <a:gd name="connsiteX4" fmla="*/ 196850 w 196850"/>
              <a:gd name="connsiteY4" fmla="*/ 1270000 h 1270000"/>
              <a:gd name="connsiteX0" fmla="*/ 3767 w 196850"/>
              <a:gd name="connsiteY0" fmla="*/ 0 h 751190"/>
              <a:gd name="connsiteX1" fmla="*/ 0 w 196850"/>
              <a:gd name="connsiteY1" fmla="*/ 509890 h 751190"/>
              <a:gd name="connsiteX2" fmla="*/ 196850 w 196850"/>
              <a:gd name="connsiteY2" fmla="*/ 694040 h 751190"/>
              <a:gd name="connsiteX3" fmla="*/ 196850 w 196850"/>
              <a:gd name="connsiteY3" fmla="*/ 751190 h 751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" h="751190">
                <a:moveTo>
                  <a:pt x="3767" y="0"/>
                </a:moveTo>
                <a:cubicBezTo>
                  <a:pt x="2511" y="169963"/>
                  <a:pt x="1256" y="339927"/>
                  <a:pt x="0" y="509890"/>
                </a:cubicBezTo>
                <a:lnTo>
                  <a:pt x="196850" y="694040"/>
                </a:lnTo>
                <a:lnTo>
                  <a:pt x="196850" y="75119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2" name="Freeform 831"/>
          <p:cNvSpPr/>
          <p:nvPr/>
        </p:nvSpPr>
        <p:spPr>
          <a:xfrm rot="18900000">
            <a:off x="2413872" y="2762932"/>
            <a:ext cx="323821" cy="1111555"/>
          </a:xfrm>
          <a:custGeom>
            <a:avLst/>
            <a:gdLst>
              <a:gd name="connsiteX0" fmla="*/ 565150 w 565150"/>
              <a:gd name="connsiteY0" fmla="*/ 0 h 2044700"/>
              <a:gd name="connsiteX1" fmla="*/ 63500 w 565150"/>
              <a:gd name="connsiteY1" fmla="*/ 533400 h 2044700"/>
              <a:gd name="connsiteX2" fmla="*/ 63500 w 565150"/>
              <a:gd name="connsiteY2" fmla="*/ 1511300 h 2044700"/>
              <a:gd name="connsiteX3" fmla="*/ 317500 w 565150"/>
              <a:gd name="connsiteY3" fmla="*/ 1765300 h 2044700"/>
              <a:gd name="connsiteX4" fmla="*/ 317500 w 565150"/>
              <a:gd name="connsiteY4" fmla="*/ 1803400 h 2044700"/>
              <a:gd name="connsiteX5" fmla="*/ 63500 w 565150"/>
              <a:gd name="connsiteY5" fmla="*/ 2044700 h 2044700"/>
              <a:gd name="connsiteX6" fmla="*/ 0 w 565150"/>
              <a:gd name="connsiteY6" fmla="*/ 2044700 h 2044700"/>
              <a:gd name="connsiteX0" fmla="*/ 565150 w 565150"/>
              <a:gd name="connsiteY0" fmla="*/ 0 h 2044700"/>
              <a:gd name="connsiteX1" fmla="*/ 63500 w 565150"/>
              <a:gd name="connsiteY1" fmla="*/ 533400 h 2044700"/>
              <a:gd name="connsiteX2" fmla="*/ 55922 w 565150"/>
              <a:gd name="connsiteY2" fmla="*/ 954841 h 2044700"/>
              <a:gd name="connsiteX3" fmla="*/ 63500 w 565150"/>
              <a:gd name="connsiteY3" fmla="*/ 1511300 h 2044700"/>
              <a:gd name="connsiteX4" fmla="*/ 317500 w 565150"/>
              <a:gd name="connsiteY4" fmla="*/ 1765300 h 2044700"/>
              <a:gd name="connsiteX5" fmla="*/ 317500 w 565150"/>
              <a:gd name="connsiteY5" fmla="*/ 1803400 h 2044700"/>
              <a:gd name="connsiteX6" fmla="*/ 63500 w 565150"/>
              <a:gd name="connsiteY6" fmla="*/ 2044700 h 2044700"/>
              <a:gd name="connsiteX7" fmla="*/ 0 w 565150"/>
              <a:gd name="connsiteY7" fmla="*/ 2044700 h 2044700"/>
              <a:gd name="connsiteX0" fmla="*/ 63500 w 317500"/>
              <a:gd name="connsiteY0" fmla="*/ 0 h 1511300"/>
              <a:gd name="connsiteX1" fmla="*/ 55922 w 317500"/>
              <a:gd name="connsiteY1" fmla="*/ 421441 h 1511300"/>
              <a:gd name="connsiteX2" fmla="*/ 63500 w 317500"/>
              <a:gd name="connsiteY2" fmla="*/ 977900 h 1511300"/>
              <a:gd name="connsiteX3" fmla="*/ 317500 w 317500"/>
              <a:gd name="connsiteY3" fmla="*/ 1231900 h 1511300"/>
              <a:gd name="connsiteX4" fmla="*/ 317500 w 317500"/>
              <a:gd name="connsiteY4" fmla="*/ 1270000 h 1511300"/>
              <a:gd name="connsiteX5" fmla="*/ 63500 w 317500"/>
              <a:gd name="connsiteY5" fmla="*/ 1511300 h 1511300"/>
              <a:gd name="connsiteX6" fmla="*/ 0 w 317500"/>
              <a:gd name="connsiteY6" fmla="*/ 1511300 h 1511300"/>
              <a:gd name="connsiteX0" fmla="*/ 55922 w 317500"/>
              <a:gd name="connsiteY0" fmla="*/ 0 h 1089859"/>
              <a:gd name="connsiteX1" fmla="*/ 63500 w 317500"/>
              <a:gd name="connsiteY1" fmla="*/ 556459 h 1089859"/>
              <a:gd name="connsiteX2" fmla="*/ 317500 w 317500"/>
              <a:gd name="connsiteY2" fmla="*/ 810459 h 1089859"/>
              <a:gd name="connsiteX3" fmla="*/ 317500 w 317500"/>
              <a:gd name="connsiteY3" fmla="*/ 848559 h 1089859"/>
              <a:gd name="connsiteX4" fmla="*/ 63500 w 317500"/>
              <a:gd name="connsiteY4" fmla="*/ 1089859 h 1089859"/>
              <a:gd name="connsiteX5" fmla="*/ 0 w 317500"/>
              <a:gd name="connsiteY5" fmla="*/ 1089859 h 1089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500" h="1089859">
                <a:moveTo>
                  <a:pt x="55922" y="0"/>
                </a:moveTo>
                <a:lnTo>
                  <a:pt x="63500" y="556459"/>
                </a:lnTo>
                <a:lnTo>
                  <a:pt x="317500" y="810459"/>
                </a:lnTo>
                <a:lnTo>
                  <a:pt x="317500" y="848559"/>
                </a:lnTo>
                <a:lnTo>
                  <a:pt x="63500" y="1089859"/>
                </a:lnTo>
                <a:lnTo>
                  <a:pt x="0" y="1089859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3" name="Freeform 832"/>
          <p:cNvSpPr/>
          <p:nvPr/>
        </p:nvSpPr>
        <p:spPr>
          <a:xfrm rot="18900000">
            <a:off x="2451570" y="2725986"/>
            <a:ext cx="408014" cy="1280924"/>
          </a:xfrm>
          <a:custGeom>
            <a:avLst/>
            <a:gdLst>
              <a:gd name="connsiteX0" fmla="*/ 641350 w 641350"/>
              <a:gd name="connsiteY0" fmla="*/ 0 h 2203450"/>
              <a:gd name="connsiteX1" fmla="*/ 133350 w 641350"/>
              <a:gd name="connsiteY1" fmla="*/ 527050 h 2203450"/>
              <a:gd name="connsiteX2" fmla="*/ 133350 w 641350"/>
              <a:gd name="connsiteY2" fmla="*/ 1473200 h 2203450"/>
              <a:gd name="connsiteX3" fmla="*/ 400050 w 641350"/>
              <a:gd name="connsiteY3" fmla="*/ 1739900 h 2203450"/>
              <a:gd name="connsiteX4" fmla="*/ 400050 w 641350"/>
              <a:gd name="connsiteY4" fmla="*/ 1803400 h 2203450"/>
              <a:gd name="connsiteX5" fmla="*/ 0 w 641350"/>
              <a:gd name="connsiteY5" fmla="*/ 2203450 h 2203450"/>
              <a:gd name="connsiteX0" fmla="*/ 641350 w 641350"/>
              <a:gd name="connsiteY0" fmla="*/ 0 h 2203450"/>
              <a:gd name="connsiteX1" fmla="*/ 133350 w 641350"/>
              <a:gd name="connsiteY1" fmla="*/ 527050 h 2203450"/>
              <a:gd name="connsiteX2" fmla="*/ 134242 w 641350"/>
              <a:gd name="connsiteY2" fmla="*/ 947528 h 2203450"/>
              <a:gd name="connsiteX3" fmla="*/ 133350 w 641350"/>
              <a:gd name="connsiteY3" fmla="*/ 1473200 h 2203450"/>
              <a:gd name="connsiteX4" fmla="*/ 400050 w 641350"/>
              <a:gd name="connsiteY4" fmla="*/ 1739900 h 2203450"/>
              <a:gd name="connsiteX5" fmla="*/ 400050 w 641350"/>
              <a:gd name="connsiteY5" fmla="*/ 1803400 h 2203450"/>
              <a:gd name="connsiteX6" fmla="*/ 0 w 641350"/>
              <a:gd name="connsiteY6" fmla="*/ 2203450 h 2203450"/>
              <a:gd name="connsiteX0" fmla="*/ 133350 w 400050"/>
              <a:gd name="connsiteY0" fmla="*/ 0 h 1676400"/>
              <a:gd name="connsiteX1" fmla="*/ 134242 w 400050"/>
              <a:gd name="connsiteY1" fmla="*/ 420478 h 1676400"/>
              <a:gd name="connsiteX2" fmla="*/ 133350 w 400050"/>
              <a:gd name="connsiteY2" fmla="*/ 946150 h 1676400"/>
              <a:gd name="connsiteX3" fmla="*/ 400050 w 400050"/>
              <a:gd name="connsiteY3" fmla="*/ 1212850 h 1676400"/>
              <a:gd name="connsiteX4" fmla="*/ 400050 w 400050"/>
              <a:gd name="connsiteY4" fmla="*/ 1276350 h 1676400"/>
              <a:gd name="connsiteX5" fmla="*/ 0 w 400050"/>
              <a:gd name="connsiteY5" fmla="*/ 1676400 h 1676400"/>
              <a:gd name="connsiteX0" fmla="*/ 134242 w 400050"/>
              <a:gd name="connsiteY0" fmla="*/ 0 h 1255922"/>
              <a:gd name="connsiteX1" fmla="*/ 133350 w 400050"/>
              <a:gd name="connsiteY1" fmla="*/ 525672 h 1255922"/>
              <a:gd name="connsiteX2" fmla="*/ 400050 w 400050"/>
              <a:gd name="connsiteY2" fmla="*/ 792372 h 1255922"/>
              <a:gd name="connsiteX3" fmla="*/ 400050 w 400050"/>
              <a:gd name="connsiteY3" fmla="*/ 855872 h 1255922"/>
              <a:gd name="connsiteX4" fmla="*/ 0 w 400050"/>
              <a:gd name="connsiteY4" fmla="*/ 1255922 h 1255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0050" h="1255922">
                <a:moveTo>
                  <a:pt x="134242" y="0"/>
                </a:moveTo>
                <a:cubicBezTo>
                  <a:pt x="133945" y="175224"/>
                  <a:pt x="133647" y="350448"/>
                  <a:pt x="133350" y="525672"/>
                </a:cubicBezTo>
                <a:lnTo>
                  <a:pt x="400050" y="792372"/>
                </a:lnTo>
                <a:lnTo>
                  <a:pt x="400050" y="855872"/>
                </a:lnTo>
                <a:lnTo>
                  <a:pt x="0" y="1255922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4" name="Freeform 833"/>
          <p:cNvSpPr/>
          <p:nvPr/>
        </p:nvSpPr>
        <p:spPr>
          <a:xfrm rot="18900000">
            <a:off x="2510146" y="2655729"/>
            <a:ext cx="304391" cy="1086927"/>
          </a:xfrm>
          <a:custGeom>
            <a:avLst/>
            <a:gdLst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298450 w 533400"/>
              <a:gd name="connsiteY4" fmla="*/ 1828800 h 1997075"/>
              <a:gd name="connsiteX5" fmla="*/ 130175 w 533400"/>
              <a:gd name="connsiteY5" fmla="*/ 1997075 h 1997075"/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509 w 533400"/>
              <a:gd name="connsiteY2" fmla="*/ 931364 h 1997075"/>
              <a:gd name="connsiteX3" fmla="*/ 0 w 533400"/>
              <a:gd name="connsiteY3" fmla="*/ 1450975 h 1997075"/>
              <a:gd name="connsiteX4" fmla="*/ 298450 w 533400"/>
              <a:gd name="connsiteY4" fmla="*/ 1749425 h 1997075"/>
              <a:gd name="connsiteX5" fmla="*/ 298450 w 533400"/>
              <a:gd name="connsiteY5" fmla="*/ 1828800 h 1997075"/>
              <a:gd name="connsiteX6" fmla="*/ 130175 w 533400"/>
              <a:gd name="connsiteY6" fmla="*/ 1997075 h 1997075"/>
              <a:gd name="connsiteX0" fmla="*/ 0 w 298450"/>
              <a:gd name="connsiteY0" fmla="*/ 0 h 1457325"/>
              <a:gd name="connsiteX1" fmla="*/ 509 w 298450"/>
              <a:gd name="connsiteY1" fmla="*/ 391614 h 1457325"/>
              <a:gd name="connsiteX2" fmla="*/ 0 w 298450"/>
              <a:gd name="connsiteY2" fmla="*/ 911225 h 1457325"/>
              <a:gd name="connsiteX3" fmla="*/ 298450 w 298450"/>
              <a:gd name="connsiteY3" fmla="*/ 1209675 h 1457325"/>
              <a:gd name="connsiteX4" fmla="*/ 298450 w 298450"/>
              <a:gd name="connsiteY4" fmla="*/ 1289050 h 1457325"/>
              <a:gd name="connsiteX5" fmla="*/ 130175 w 298450"/>
              <a:gd name="connsiteY5" fmla="*/ 1457325 h 1457325"/>
              <a:gd name="connsiteX0" fmla="*/ 509 w 298450"/>
              <a:gd name="connsiteY0" fmla="*/ 0 h 1065711"/>
              <a:gd name="connsiteX1" fmla="*/ 0 w 298450"/>
              <a:gd name="connsiteY1" fmla="*/ 519611 h 1065711"/>
              <a:gd name="connsiteX2" fmla="*/ 298450 w 298450"/>
              <a:gd name="connsiteY2" fmla="*/ 818061 h 1065711"/>
              <a:gd name="connsiteX3" fmla="*/ 298450 w 298450"/>
              <a:gd name="connsiteY3" fmla="*/ 897436 h 1065711"/>
              <a:gd name="connsiteX4" fmla="*/ 130175 w 298450"/>
              <a:gd name="connsiteY4" fmla="*/ 1065711 h 1065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450" h="1065711">
                <a:moveTo>
                  <a:pt x="509" y="0"/>
                </a:moveTo>
                <a:cubicBezTo>
                  <a:pt x="339" y="173204"/>
                  <a:pt x="170" y="346407"/>
                  <a:pt x="0" y="519611"/>
                </a:cubicBezTo>
                <a:lnTo>
                  <a:pt x="298450" y="818061"/>
                </a:lnTo>
                <a:lnTo>
                  <a:pt x="298450" y="897436"/>
                </a:lnTo>
                <a:lnTo>
                  <a:pt x="130175" y="1065711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5" name="Freeform 834"/>
          <p:cNvSpPr/>
          <p:nvPr/>
        </p:nvSpPr>
        <p:spPr>
          <a:xfrm rot="18900000">
            <a:off x="2609360" y="2586466"/>
            <a:ext cx="316921" cy="1261790"/>
          </a:xfrm>
          <a:custGeom>
            <a:avLst/>
            <a:gdLst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298450 w 533400"/>
              <a:gd name="connsiteY4" fmla="*/ 1828800 h 1997075"/>
              <a:gd name="connsiteX5" fmla="*/ 130175 w 533400"/>
              <a:gd name="connsiteY5" fmla="*/ 1997075 h 1997075"/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301625 w 533400"/>
              <a:gd name="connsiteY4" fmla="*/ 1873250 h 1997075"/>
              <a:gd name="connsiteX5" fmla="*/ 130175 w 533400"/>
              <a:gd name="connsiteY5" fmla="*/ 1997075 h 1997075"/>
              <a:gd name="connsiteX0" fmla="*/ 533400 w 533400"/>
              <a:gd name="connsiteY0" fmla="*/ 0 h 2168525"/>
              <a:gd name="connsiteX1" fmla="*/ 0 w 533400"/>
              <a:gd name="connsiteY1" fmla="*/ 539750 h 2168525"/>
              <a:gd name="connsiteX2" fmla="*/ 0 w 533400"/>
              <a:gd name="connsiteY2" fmla="*/ 1450975 h 2168525"/>
              <a:gd name="connsiteX3" fmla="*/ 298450 w 533400"/>
              <a:gd name="connsiteY3" fmla="*/ 1749425 h 2168525"/>
              <a:gd name="connsiteX4" fmla="*/ 301625 w 533400"/>
              <a:gd name="connsiteY4" fmla="*/ 1873250 h 2168525"/>
              <a:gd name="connsiteX5" fmla="*/ 9525 w 533400"/>
              <a:gd name="connsiteY5" fmla="*/ 2168525 h 2168525"/>
              <a:gd name="connsiteX0" fmla="*/ 542510 w 542510"/>
              <a:gd name="connsiteY0" fmla="*/ 0 h 2168525"/>
              <a:gd name="connsiteX1" fmla="*/ 9110 w 542510"/>
              <a:gd name="connsiteY1" fmla="*/ 539750 h 2168525"/>
              <a:gd name="connsiteX2" fmla="*/ 0 w 542510"/>
              <a:gd name="connsiteY2" fmla="*/ 931364 h 2168525"/>
              <a:gd name="connsiteX3" fmla="*/ 9110 w 542510"/>
              <a:gd name="connsiteY3" fmla="*/ 1450975 h 2168525"/>
              <a:gd name="connsiteX4" fmla="*/ 307560 w 542510"/>
              <a:gd name="connsiteY4" fmla="*/ 1749425 h 2168525"/>
              <a:gd name="connsiteX5" fmla="*/ 310735 w 542510"/>
              <a:gd name="connsiteY5" fmla="*/ 1873250 h 2168525"/>
              <a:gd name="connsiteX6" fmla="*/ 18635 w 542510"/>
              <a:gd name="connsiteY6" fmla="*/ 2168525 h 2168525"/>
              <a:gd name="connsiteX0" fmla="*/ 9110 w 310735"/>
              <a:gd name="connsiteY0" fmla="*/ 0 h 1628775"/>
              <a:gd name="connsiteX1" fmla="*/ 0 w 310735"/>
              <a:gd name="connsiteY1" fmla="*/ 391614 h 1628775"/>
              <a:gd name="connsiteX2" fmla="*/ 9110 w 310735"/>
              <a:gd name="connsiteY2" fmla="*/ 911225 h 1628775"/>
              <a:gd name="connsiteX3" fmla="*/ 307560 w 310735"/>
              <a:gd name="connsiteY3" fmla="*/ 1209675 h 1628775"/>
              <a:gd name="connsiteX4" fmla="*/ 310735 w 310735"/>
              <a:gd name="connsiteY4" fmla="*/ 1333500 h 1628775"/>
              <a:gd name="connsiteX5" fmla="*/ 18635 w 310735"/>
              <a:gd name="connsiteY5" fmla="*/ 1628775 h 1628775"/>
              <a:gd name="connsiteX0" fmla="*/ 0 w 310735"/>
              <a:gd name="connsiteY0" fmla="*/ 0 h 1237161"/>
              <a:gd name="connsiteX1" fmla="*/ 9110 w 310735"/>
              <a:gd name="connsiteY1" fmla="*/ 519611 h 1237161"/>
              <a:gd name="connsiteX2" fmla="*/ 307560 w 310735"/>
              <a:gd name="connsiteY2" fmla="*/ 818061 h 1237161"/>
              <a:gd name="connsiteX3" fmla="*/ 310735 w 310735"/>
              <a:gd name="connsiteY3" fmla="*/ 941886 h 1237161"/>
              <a:gd name="connsiteX4" fmla="*/ 18635 w 310735"/>
              <a:gd name="connsiteY4" fmla="*/ 1237161 h 1237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735" h="1237161">
                <a:moveTo>
                  <a:pt x="0" y="0"/>
                </a:moveTo>
                <a:lnTo>
                  <a:pt x="9110" y="519611"/>
                </a:lnTo>
                <a:lnTo>
                  <a:pt x="307560" y="818061"/>
                </a:lnTo>
                <a:cubicBezTo>
                  <a:pt x="308618" y="859336"/>
                  <a:pt x="309677" y="900611"/>
                  <a:pt x="310735" y="941886"/>
                </a:cubicBezTo>
                <a:lnTo>
                  <a:pt x="18635" y="1237161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6" name="Freeform 835"/>
          <p:cNvSpPr/>
          <p:nvPr/>
        </p:nvSpPr>
        <p:spPr>
          <a:xfrm rot="18900000">
            <a:off x="2576769" y="2562149"/>
            <a:ext cx="307630" cy="1039629"/>
          </a:xfrm>
          <a:custGeom>
            <a:avLst/>
            <a:gdLst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298450 w 533400"/>
              <a:gd name="connsiteY4" fmla="*/ 1828800 h 1997075"/>
              <a:gd name="connsiteX5" fmla="*/ 130175 w 533400"/>
              <a:gd name="connsiteY5" fmla="*/ 1997075 h 1997075"/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301625 w 533400"/>
              <a:gd name="connsiteY4" fmla="*/ 1873250 h 1997075"/>
              <a:gd name="connsiteX5" fmla="*/ 130175 w 533400"/>
              <a:gd name="connsiteY5" fmla="*/ 1997075 h 1997075"/>
              <a:gd name="connsiteX0" fmla="*/ 533400 w 533400"/>
              <a:gd name="connsiteY0" fmla="*/ 0 h 2168525"/>
              <a:gd name="connsiteX1" fmla="*/ 0 w 533400"/>
              <a:gd name="connsiteY1" fmla="*/ 539750 h 2168525"/>
              <a:gd name="connsiteX2" fmla="*/ 0 w 533400"/>
              <a:gd name="connsiteY2" fmla="*/ 1450975 h 2168525"/>
              <a:gd name="connsiteX3" fmla="*/ 298450 w 533400"/>
              <a:gd name="connsiteY3" fmla="*/ 1749425 h 2168525"/>
              <a:gd name="connsiteX4" fmla="*/ 301625 w 533400"/>
              <a:gd name="connsiteY4" fmla="*/ 1873250 h 2168525"/>
              <a:gd name="connsiteX5" fmla="*/ 9525 w 533400"/>
              <a:gd name="connsiteY5" fmla="*/ 2168525 h 2168525"/>
              <a:gd name="connsiteX0" fmla="*/ 533400 w 533400"/>
              <a:gd name="connsiteY0" fmla="*/ 0 h 1873250"/>
              <a:gd name="connsiteX1" fmla="*/ 0 w 533400"/>
              <a:gd name="connsiteY1" fmla="*/ 539750 h 1873250"/>
              <a:gd name="connsiteX2" fmla="*/ 0 w 533400"/>
              <a:gd name="connsiteY2" fmla="*/ 1450975 h 1873250"/>
              <a:gd name="connsiteX3" fmla="*/ 298450 w 533400"/>
              <a:gd name="connsiteY3" fmla="*/ 1749425 h 1873250"/>
              <a:gd name="connsiteX4" fmla="*/ 301625 w 533400"/>
              <a:gd name="connsiteY4" fmla="*/ 1873250 h 1873250"/>
              <a:gd name="connsiteX0" fmla="*/ 533400 w 533400"/>
              <a:gd name="connsiteY0" fmla="*/ 0 h 1939925"/>
              <a:gd name="connsiteX1" fmla="*/ 0 w 533400"/>
              <a:gd name="connsiteY1" fmla="*/ 539750 h 1939925"/>
              <a:gd name="connsiteX2" fmla="*/ 0 w 533400"/>
              <a:gd name="connsiteY2" fmla="*/ 1450975 h 1939925"/>
              <a:gd name="connsiteX3" fmla="*/ 298450 w 533400"/>
              <a:gd name="connsiteY3" fmla="*/ 1749425 h 1939925"/>
              <a:gd name="connsiteX4" fmla="*/ 301625 w 533400"/>
              <a:gd name="connsiteY4" fmla="*/ 1939925 h 1939925"/>
              <a:gd name="connsiteX0" fmla="*/ 533400 w 533400"/>
              <a:gd name="connsiteY0" fmla="*/ 0 h 1939925"/>
              <a:gd name="connsiteX1" fmla="*/ 0 w 533400"/>
              <a:gd name="connsiteY1" fmla="*/ 539750 h 1939925"/>
              <a:gd name="connsiteX2" fmla="*/ 2824 w 533400"/>
              <a:gd name="connsiteY2" fmla="*/ 920588 h 1939925"/>
              <a:gd name="connsiteX3" fmla="*/ 0 w 533400"/>
              <a:gd name="connsiteY3" fmla="*/ 1450975 h 1939925"/>
              <a:gd name="connsiteX4" fmla="*/ 298450 w 533400"/>
              <a:gd name="connsiteY4" fmla="*/ 1749425 h 1939925"/>
              <a:gd name="connsiteX5" fmla="*/ 301625 w 533400"/>
              <a:gd name="connsiteY5" fmla="*/ 1939925 h 1939925"/>
              <a:gd name="connsiteX0" fmla="*/ 0 w 301625"/>
              <a:gd name="connsiteY0" fmla="*/ 0 h 1400175"/>
              <a:gd name="connsiteX1" fmla="*/ 2824 w 301625"/>
              <a:gd name="connsiteY1" fmla="*/ 380838 h 1400175"/>
              <a:gd name="connsiteX2" fmla="*/ 0 w 301625"/>
              <a:gd name="connsiteY2" fmla="*/ 911225 h 1400175"/>
              <a:gd name="connsiteX3" fmla="*/ 298450 w 301625"/>
              <a:gd name="connsiteY3" fmla="*/ 1209675 h 1400175"/>
              <a:gd name="connsiteX4" fmla="*/ 301625 w 301625"/>
              <a:gd name="connsiteY4" fmla="*/ 1400175 h 1400175"/>
              <a:gd name="connsiteX0" fmla="*/ 2824 w 301625"/>
              <a:gd name="connsiteY0" fmla="*/ 0 h 1019337"/>
              <a:gd name="connsiteX1" fmla="*/ 0 w 301625"/>
              <a:gd name="connsiteY1" fmla="*/ 530387 h 1019337"/>
              <a:gd name="connsiteX2" fmla="*/ 298450 w 301625"/>
              <a:gd name="connsiteY2" fmla="*/ 828837 h 1019337"/>
              <a:gd name="connsiteX3" fmla="*/ 301625 w 301625"/>
              <a:gd name="connsiteY3" fmla="*/ 1019337 h 101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625" h="1019337">
                <a:moveTo>
                  <a:pt x="2824" y="0"/>
                </a:moveTo>
                <a:cubicBezTo>
                  <a:pt x="1883" y="176796"/>
                  <a:pt x="941" y="353591"/>
                  <a:pt x="0" y="530387"/>
                </a:cubicBezTo>
                <a:lnTo>
                  <a:pt x="298450" y="828837"/>
                </a:lnTo>
                <a:cubicBezTo>
                  <a:pt x="299508" y="870112"/>
                  <a:pt x="300567" y="978062"/>
                  <a:pt x="301625" y="1019337"/>
                </a:cubicBez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7" name="Freeform 836"/>
          <p:cNvSpPr/>
          <p:nvPr/>
        </p:nvSpPr>
        <p:spPr>
          <a:xfrm rot="18900000">
            <a:off x="2706353" y="2453367"/>
            <a:ext cx="307786" cy="1290541"/>
          </a:xfrm>
          <a:custGeom>
            <a:avLst/>
            <a:gdLst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298450 w 533400"/>
              <a:gd name="connsiteY4" fmla="*/ 1828800 h 1997075"/>
              <a:gd name="connsiteX5" fmla="*/ 130175 w 533400"/>
              <a:gd name="connsiteY5" fmla="*/ 1997075 h 1997075"/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301625 w 533400"/>
              <a:gd name="connsiteY4" fmla="*/ 1873250 h 1997075"/>
              <a:gd name="connsiteX5" fmla="*/ 130175 w 533400"/>
              <a:gd name="connsiteY5" fmla="*/ 1997075 h 1997075"/>
              <a:gd name="connsiteX0" fmla="*/ 533400 w 533400"/>
              <a:gd name="connsiteY0" fmla="*/ 0 h 2168525"/>
              <a:gd name="connsiteX1" fmla="*/ 0 w 533400"/>
              <a:gd name="connsiteY1" fmla="*/ 539750 h 2168525"/>
              <a:gd name="connsiteX2" fmla="*/ 0 w 533400"/>
              <a:gd name="connsiteY2" fmla="*/ 1450975 h 2168525"/>
              <a:gd name="connsiteX3" fmla="*/ 298450 w 533400"/>
              <a:gd name="connsiteY3" fmla="*/ 1749425 h 2168525"/>
              <a:gd name="connsiteX4" fmla="*/ 301625 w 533400"/>
              <a:gd name="connsiteY4" fmla="*/ 1873250 h 2168525"/>
              <a:gd name="connsiteX5" fmla="*/ 9525 w 533400"/>
              <a:gd name="connsiteY5" fmla="*/ 2168525 h 2168525"/>
              <a:gd name="connsiteX0" fmla="*/ 533400 w 533400"/>
              <a:gd name="connsiteY0" fmla="*/ 0 h 1873250"/>
              <a:gd name="connsiteX1" fmla="*/ 0 w 533400"/>
              <a:gd name="connsiteY1" fmla="*/ 539750 h 1873250"/>
              <a:gd name="connsiteX2" fmla="*/ 0 w 533400"/>
              <a:gd name="connsiteY2" fmla="*/ 1450975 h 1873250"/>
              <a:gd name="connsiteX3" fmla="*/ 298450 w 533400"/>
              <a:gd name="connsiteY3" fmla="*/ 1749425 h 1873250"/>
              <a:gd name="connsiteX4" fmla="*/ 301625 w 533400"/>
              <a:gd name="connsiteY4" fmla="*/ 1873250 h 1873250"/>
              <a:gd name="connsiteX0" fmla="*/ 533400 w 533400"/>
              <a:gd name="connsiteY0" fmla="*/ 0 h 1939925"/>
              <a:gd name="connsiteX1" fmla="*/ 0 w 533400"/>
              <a:gd name="connsiteY1" fmla="*/ 539750 h 1939925"/>
              <a:gd name="connsiteX2" fmla="*/ 0 w 533400"/>
              <a:gd name="connsiteY2" fmla="*/ 1450975 h 1939925"/>
              <a:gd name="connsiteX3" fmla="*/ 298450 w 533400"/>
              <a:gd name="connsiteY3" fmla="*/ 1749425 h 1939925"/>
              <a:gd name="connsiteX4" fmla="*/ 301625 w 533400"/>
              <a:gd name="connsiteY4" fmla="*/ 1939925 h 1939925"/>
              <a:gd name="connsiteX0" fmla="*/ 533400 w 533400"/>
              <a:gd name="connsiteY0" fmla="*/ 0 h 2136775"/>
              <a:gd name="connsiteX1" fmla="*/ 0 w 533400"/>
              <a:gd name="connsiteY1" fmla="*/ 539750 h 2136775"/>
              <a:gd name="connsiteX2" fmla="*/ 0 w 533400"/>
              <a:gd name="connsiteY2" fmla="*/ 1450975 h 2136775"/>
              <a:gd name="connsiteX3" fmla="*/ 298450 w 533400"/>
              <a:gd name="connsiteY3" fmla="*/ 1749425 h 2136775"/>
              <a:gd name="connsiteX4" fmla="*/ 298450 w 533400"/>
              <a:gd name="connsiteY4" fmla="*/ 2136775 h 2136775"/>
              <a:gd name="connsiteX0" fmla="*/ 533400 w 533400"/>
              <a:gd name="connsiteY0" fmla="*/ 0 h 2136775"/>
              <a:gd name="connsiteX1" fmla="*/ 0 w 533400"/>
              <a:gd name="connsiteY1" fmla="*/ 539750 h 2136775"/>
              <a:gd name="connsiteX2" fmla="*/ 0 w 533400"/>
              <a:gd name="connsiteY2" fmla="*/ 1450975 h 2136775"/>
              <a:gd name="connsiteX3" fmla="*/ 298450 w 533400"/>
              <a:gd name="connsiteY3" fmla="*/ 1749425 h 2136775"/>
              <a:gd name="connsiteX4" fmla="*/ 298450 w 533400"/>
              <a:gd name="connsiteY4" fmla="*/ 2012950 h 2136775"/>
              <a:gd name="connsiteX5" fmla="*/ 298450 w 533400"/>
              <a:gd name="connsiteY5" fmla="*/ 2136775 h 2136775"/>
              <a:gd name="connsiteX0" fmla="*/ 533400 w 533400"/>
              <a:gd name="connsiteY0" fmla="*/ 0 h 2136775"/>
              <a:gd name="connsiteX1" fmla="*/ 0 w 533400"/>
              <a:gd name="connsiteY1" fmla="*/ 539750 h 2136775"/>
              <a:gd name="connsiteX2" fmla="*/ 0 w 533400"/>
              <a:gd name="connsiteY2" fmla="*/ 1450975 h 2136775"/>
              <a:gd name="connsiteX3" fmla="*/ 298450 w 533400"/>
              <a:gd name="connsiteY3" fmla="*/ 1749425 h 2136775"/>
              <a:gd name="connsiteX4" fmla="*/ 298450 w 533400"/>
              <a:gd name="connsiteY4" fmla="*/ 2012950 h 2136775"/>
              <a:gd name="connsiteX5" fmla="*/ 298450 w 533400"/>
              <a:gd name="connsiteY5" fmla="*/ 2136775 h 2136775"/>
              <a:gd name="connsiteX0" fmla="*/ 533400 w 533400"/>
              <a:gd name="connsiteY0" fmla="*/ 0 h 2136775"/>
              <a:gd name="connsiteX1" fmla="*/ 0 w 533400"/>
              <a:gd name="connsiteY1" fmla="*/ 539750 h 2136775"/>
              <a:gd name="connsiteX2" fmla="*/ 0 w 533400"/>
              <a:gd name="connsiteY2" fmla="*/ 1450975 h 2136775"/>
              <a:gd name="connsiteX3" fmla="*/ 298450 w 533400"/>
              <a:gd name="connsiteY3" fmla="*/ 1749425 h 2136775"/>
              <a:gd name="connsiteX4" fmla="*/ 298450 w 533400"/>
              <a:gd name="connsiteY4" fmla="*/ 2012950 h 2136775"/>
              <a:gd name="connsiteX5" fmla="*/ 298450 w 533400"/>
              <a:gd name="connsiteY5" fmla="*/ 2136775 h 2136775"/>
              <a:gd name="connsiteX0" fmla="*/ 533400 w 533400"/>
              <a:gd name="connsiteY0" fmla="*/ 0 h 2159000"/>
              <a:gd name="connsiteX1" fmla="*/ 0 w 533400"/>
              <a:gd name="connsiteY1" fmla="*/ 539750 h 2159000"/>
              <a:gd name="connsiteX2" fmla="*/ 0 w 533400"/>
              <a:gd name="connsiteY2" fmla="*/ 1450975 h 2159000"/>
              <a:gd name="connsiteX3" fmla="*/ 298450 w 533400"/>
              <a:gd name="connsiteY3" fmla="*/ 1749425 h 2159000"/>
              <a:gd name="connsiteX4" fmla="*/ 298450 w 533400"/>
              <a:gd name="connsiteY4" fmla="*/ 2012950 h 2159000"/>
              <a:gd name="connsiteX5" fmla="*/ 53975 w 533400"/>
              <a:gd name="connsiteY5" fmla="*/ 2159000 h 2159000"/>
              <a:gd name="connsiteX0" fmla="*/ 533400 w 533400"/>
              <a:gd name="connsiteY0" fmla="*/ 0 h 2159000"/>
              <a:gd name="connsiteX1" fmla="*/ 0 w 533400"/>
              <a:gd name="connsiteY1" fmla="*/ 539750 h 2159000"/>
              <a:gd name="connsiteX2" fmla="*/ 0 w 533400"/>
              <a:gd name="connsiteY2" fmla="*/ 1450975 h 2159000"/>
              <a:gd name="connsiteX3" fmla="*/ 298450 w 533400"/>
              <a:gd name="connsiteY3" fmla="*/ 1749425 h 2159000"/>
              <a:gd name="connsiteX4" fmla="*/ 301625 w 533400"/>
              <a:gd name="connsiteY4" fmla="*/ 2130425 h 2159000"/>
              <a:gd name="connsiteX5" fmla="*/ 53975 w 533400"/>
              <a:gd name="connsiteY5" fmla="*/ 2159000 h 2159000"/>
              <a:gd name="connsiteX0" fmla="*/ 533400 w 533400"/>
              <a:gd name="connsiteY0" fmla="*/ 0 h 2159000"/>
              <a:gd name="connsiteX1" fmla="*/ 0 w 533400"/>
              <a:gd name="connsiteY1" fmla="*/ 539750 h 2159000"/>
              <a:gd name="connsiteX2" fmla="*/ 0 w 533400"/>
              <a:gd name="connsiteY2" fmla="*/ 1450975 h 2159000"/>
              <a:gd name="connsiteX3" fmla="*/ 298450 w 533400"/>
              <a:gd name="connsiteY3" fmla="*/ 1749425 h 2159000"/>
              <a:gd name="connsiteX4" fmla="*/ 301625 w 533400"/>
              <a:gd name="connsiteY4" fmla="*/ 2130425 h 2159000"/>
              <a:gd name="connsiteX5" fmla="*/ 177800 w 533400"/>
              <a:gd name="connsiteY5" fmla="*/ 2143124 h 2159000"/>
              <a:gd name="connsiteX6" fmla="*/ 53975 w 533400"/>
              <a:gd name="connsiteY6" fmla="*/ 2159000 h 2159000"/>
              <a:gd name="connsiteX0" fmla="*/ 533400 w 533400"/>
              <a:gd name="connsiteY0" fmla="*/ 0 h 2174874"/>
              <a:gd name="connsiteX1" fmla="*/ 0 w 533400"/>
              <a:gd name="connsiteY1" fmla="*/ 539750 h 2174874"/>
              <a:gd name="connsiteX2" fmla="*/ 0 w 533400"/>
              <a:gd name="connsiteY2" fmla="*/ 1450975 h 2174874"/>
              <a:gd name="connsiteX3" fmla="*/ 298450 w 533400"/>
              <a:gd name="connsiteY3" fmla="*/ 1749425 h 2174874"/>
              <a:gd name="connsiteX4" fmla="*/ 301625 w 533400"/>
              <a:gd name="connsiteY4" fmla="*/ 2130425 h 2174874"/>
              <a:gd name="connsiteX5" fmla="*/ 257175 w 533400"/>
              <a:gd name="connsiteY5" fmla="*/ 2174874 h 2174874"/>
              <a:gd name="connsiteX6" fmla="*/ 53975 w 533400"/>
              <a:gd name="connsiteY6" fmla="*/ 2159000 h 2174874"/>
              <a:gd name="connsiteX0" fmla="*/ 533400 w 533400"/>
              <a:gd name="connsiteY0" fmla="*/ 0 h 2181225"/>
              <a:gd name="connsiteX1" fmla="*/ 0 w 533400"/>
              <a:gd name="connsiteY1" fmla="*/ 539750 h 2181225"/>
              <a:gd name="connsiteX2" fmla="*/ 0 w 533400"/>
              <a:gd name="connsiteY2" fmla="*/ 1450975 h 2181225"/>
              <a:gd name="connsiteX3" fmla="*/ 298450 w 533400"/>
              <a:gd name="connsiteY3" fmla="*/ 1749425 h 2181225"/>
              <a:gd name="connsiteX4" fmla="*/ 301625 w 533400"/>
              <a:gd name="connsiteY4" fmla="*/ 2130425 h 2181225"/>
              <a:gd name="connsiteX5" fmla="*/ 257175 w 533400"/>
              <a:gd name="connsiteY5" fmla="*/ 2174874 h 2181225"/>
              <a:gd name="connsiteX6" fmla="*/ 50800 w 533400"/>
              <a:gd name="connsiteY6" fmla="*/ 2181225 h 2181225"/>
              <a:gd name="connsiteX0" fmla="*/ 0 w 301625"/>
              <a:gd name="connsiteY0" fmla="*/ 0 h 1641475"/>
              <a:gd name="connsiteX1" fmla="*/ 0 w 301625"/>
              <a:gd name="connsiteY1" fmla="*/ 911225 h 1641475"/>
              <a:gd name="connsiteX2" fmla="*/ 298450 w 301625"/>
              <a:gd name="connsiteY2" fmla="*/ 1209675 h 1641475"/>
              <a:gd name="connsiteX3" fmla="*/ 301625 w 301625"/>
              <a:gd name="connsiteY3" fmla="*/ 1590675 h 1641475"/>
              <a:gd name="connsiteX4" fmla="*/ 257175 w 301625"/>
              <a:gd name="connsiteY4" fmla="*/ 1635124 h 1641475"/>
              <a:gd name="connsiteX5" fmla="*/ 50800 w 301625"/>
              <a:gd name="connsiteY5" fmla="*/ 1641475 h 1641475"/>
              <a:gd name="connsiteX0" fmla="*/ 153 w 301778"/>
              <a:gd name="connsiteY0" fmla="*/ 0 h 1641475"/>
              <a:gd name="connsiteX1" fmla="*/ 0 w 301778"/>
              <a:gd name="connsiteY1" fmla="*/ 376124 h 1641475"/>
              <a:gd name="connsiteX2" fmla="*/ 153 w 301778"/>
              <a:gd name="connsiteY2" fmla="*/ 911225 h 1641475"/>
              <a:gd name="connsiteX3" fmla="*/ 298603 w 301778"/>
              <a:gd name="connsiteY3" fmla="*/ 1209675 h 1641475"/>
              <a:gd name="connsiteX4" fmla="*/ 301778 w 301778"/>
              <a:gd name="connsiteY4" fmla="*/ 1590675 h 1641475"/>
              <a:gd name="connsiteX5" fmla="*/ 257328 w 301778"/>
              <a:gd name="connsiteY5" fmla="*/ 1635124 h 1641475"/>
              <a:gd name="connsiteX6" fmla="*/ 50953 w 301778"/>
              <a:gd name="connsiteY6" fmla="*/ 1641475 h 1641475"/>
              <a:gd name="connsiteX0" fmla="*/ 0 w 301778"/>
              <a:gd name="connsiteY0" fmla="*/ 0 h 1265351"/>
              <a:gd name="connsiteX1" fmla="*/ 153 w 301778"/>
              <a:gd name="connsiteY1" fmla="*/ 535101 h 1265351"/>
              <a:gd name="connsiteX2" fmla="*/ 298603 w 301778"/>
              <a:gd name="connsiteY2" fmla="*/ 833551 h 1265351"/>
              <a:gd name="connsiteX3" fmla="*/ 301778 w 301778"/>
              <a:gd name="connsiteY3" fmla="*/ 1214551 h 1265351"/>
              <a:gd name="connsiteX4" fmla="*/ 257328 w 301778"/>
              <a:gd name="connsiteY4" fmla="*/ 1259000 h 1265351"/>
              <a:gd name="connsiteX5" fmla="*/ 50953 w 301778"/>
              <a:gd name="connsiteY5" fmla="*/ 1265351 h 1265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1778" h="1265351">
                <a:moveTo>
                  <a:pt x="0" y="0"/>
                </a:moveTo>
                <a:lnTo>
                  <a:pt x="153" y="535101"/>
                </a:lnTo>
                <a:lnTo>
                  <a:pt x="298603" y="833551"/>
                </a:lnTo>
                <a:cubicBezTo>
                  <a:pt x="299661" y="960551"/>
                  <a:pt x="300720" y="1087551"/>
                  <a:pt x="301778" y="1214551"/>
                </a:cubicBezTo>
                <a:lnTo>
                  <a:pt x="257328" y="1259000"/>
                </a:lnTo>
                <a:lnTo>
                  <a:pt x="50953" y="1265351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42" name="Freeform 841"/>
          <p:cNvSpPr/>
          <p:nvPr/>
        </p:nvSpPr>
        <p:spPr>
          <a:xfrm rot="18900000">
            <a:off x="2705312" y="2275062"/>
            <a:ext cx="529446" cy="1222392"/>
          </a:xfrm>
          <a:custGeom>
            <a:avLst/>
            <a:gdLst>
              <a:gd name="connsiteX0" fmla="*/ 695325 w 695325"/>
              <a:gd name="connsiteY0" fmla="*/ 0 h 2100263"/>
              <a:gd name="connsiteX1" fmla="*/ 0 w 695325"/>
              <a:gd name="connsiteY1" fmla="*/ 695325 h 2100263"/>
              <a:gd name="connsiteX2" fmla="*/ 0 w 695325"/>
              <a:gd name="connsiteY2" fmla="*/ 1419225 h 2100263"/>
              <a:gd name="connsiteX3" fmla="*/ 471487 w 695325"/>
              <a:gd name="connsiteY3" fmla="*/ 1881188 h 2100263"/>
              <a:gd name="connsiteX4" fmla="*/ 471487 w 695325"/>
              <a:gd name="connsiteY4" fmla="*/ 2043113 h 2100263"/>
              <a:gd name="connsiteX5" fmla="*/ 519112 w 695325"/>
              <a:gd name="connsiteY5" fmla="*/ 2100263 h 2100263"/>
              <a:gd name="connsiteX0" fmla="*/ 695325 w 695325"/>
              <a:gd name="connsiteY0" fmla="*/ 0 h 2100263"/>
              <a:gd name="connsiteX1" fmla="*/ 0 w 695325"/>
              <a:gd name="connsiteY1" fmla="*/ 695325 h 2100263"/>
              <a:gd name="connsiteX2" fmla="*/ 9233 w 695325"/>
              <a:gd name="connsiteY2" fmla="*/ 901731 h 2100263"/>
              <a:gd name="connsiteX3" fmla="*/ 0 w 695325"/>
              <a:gd name="connsiteY3" fmla="*/ 1419225 h 2100263"/>
              <a:gd name="connsiteX4" fmla="*/ 471487 w 695325"/>
              <a:gd name="connsiteY4" fmla="*/ 1881188 h 2100263"/>
              <a:gd name="connsiteX5" fmla="*/ 471487 w 695325"/>
              <a:gd name="connsiteY5" fmla="*/ 2043113 h 2100263"/>
              <a:gd name="connsiteX6" fmla="*/ 519112 w 695325"/>
              <a:gd name="connsiteY6" fmla="*/ 2100263 h 2100263"/>
              <a:gd name="connsiteX0" fmla="*/ 0 w 519112"/>
              <a:gd name="connsiteY0" fmla="*/ 0 h 1404938"/>
              <a:gd name="connsiteX1" fmla="*/ 9233 w 519112"/>
              <a:gd name="connsiteY1" fmla="*/ 206406 h 1404938"/>
              <a:gd name="connsiteX2" fmla="*/ 0 w 519112"/>
              <a:gd name="connsiteY2" fmla="*/ 723900 h 1404938"/>
              <a:gd name="connsiteX3" fmla="*/ 471487 w 519112"/>
              <a:gd name="connsiteY3" fmla="*/ 1185863 h 1404938"/>
              <a:gd name="connsiteX4" fmla="*/ 471487 w 519112"/>
              <a:gd name="connsiteY4" fmla="*/ 1347788 h 1404938"/>
              <a:gd name="connsiteX5" fmla="*/ 519112 w 519112"/>
              <a:gd name="connsiteY5" fmla="*/ 1404938 h 1404938"/>
              <a:gd name="connsiteX0" fmla="*/ 9233 w 519112"/>
              <a:gd name="connsiteY0" fmla="*/ 0 h 1198532"/>
              <a:gd name="connsiteX1" fmla="*/ 0 w 519112"/>
              <a:gd name="connsiteY1" fmla="*/ 517494 h 1198532"/>
              <a:gd name="connsiteX2" fmla="*/ 471487 w 519112"/>
              <a:gd name="connsiteY2" fmla="*/ 979457 h 1198532"/>
              <a:gd name="connsiteX3" fmla="*/ 471487 w 519112"/>
              <a:gd name="connsiteY3" fmla="*/ 1141382 h 1198532"/>
              <a:gd name="connsiteX4" fmla="*/ 519112 w 519112"/>
              <a:gd name="connsiteY4" fmla="*/ 1198532 h 1198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112" h="1198532">
                <a:moveTo>
                  <a:pt x="9233" y="0"/>
                </a:moveTo>
                <a:lnTo>
                  <a:pt x="0" y="517494"/>
                </a:lnTo>
                <a:lnTo>
                  <a:pt x="471487" y="979457"/>
                </a:lnTo>
                <a:lnTo>
                  <a:pt x="471487" y="1141382"/>
                </a:lnTo>
                <a:lnTo>
                  <a:pt x="519112" y="1198532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58" name="Freeform 457"/>
          <p:cNvSpPr/>
          <p:nvPr/>
        </p:nvSpPr>
        <p:spPr>
          <a:xfrm rot="8100000" flipV="1">
            <a:off x="4273849" y="-477648"/>
            <a:ext cx="835457" cy="3089249"/>
          </a:xfrm>
          <a:custGeom>
            <a:avLst/>
            <a:gdLst>
              <a:gd name="connsiteX0" fmla="*/ 819150 w 819150"/>
              <a:gd name="connsiteY0" fmla="*/ 0 h 3028950"/>
              <a:gd name="connsiteX1" fmla="*/ 19050 w 819150"/>
              <a:gd name="connsiteY1" fmla="*/ 806450 h 3028950"/>
              <a:gd name="connsiteX2" fmla="*/ 19050 w 819150"/>
              <a:gd name="connsiteY2" fmla="*/ 1219200 h 3028950"/>
              <a:gd name="connsiteX3" fmla="*/ 723900 w 819150"/>
              <a:gd name="connsiteY3" fmla="*/ 1924050 h 3028950"/>
              <a:gd name="connsiteX4" fmla="*/ 723900 w 819150"/>
              <a:gd name="connsiteY4" fmla="*/ 2095500 h 3028950"/>
              <a:gd name="connsiteX5" fmla="*/ 184150 w 819150"/>
              <a:gd name="connsiteY5" fmla="*/ 2635250 h 3028950"/>
              <a:gd name="connsiteX6" fmla="*/ 184150 w 819150"/>
              <a:gd name="connsiteY6" fmla="*/ 2844800 h 3028950"/>
              <a:gd name="connsiteX7" fmla="*/ 0 w 819150"/>
              <a:gd name="connsiteY7" fmla="*/ 3028950 h 302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150" h="3028950">
                <a:moveTo>
                  <a:pt x="819150" y="0"/>
                </a:moveTo>
                <a:lnTo>
                  <a:pt x="19050" y="806450"/>
                </a:lnTo>
                <a:lnTo>
                  <a:pt x="19050" y="1219200"/>
                </a:lnTo>
                <a:lnTo>
                  <a:pt x="723900" y="1924050"/>
                </a:lnTo>
                <a:lnTo>
                  <a:pt x="723900" y="2095500"/>
                </a:lnTo>
                <a:lnTo>
                  <a:pt x="184150" y="2635250"/>
                </a:lnTo>
                <a:lnTo>
                  <a:pt x="184150" y="2844800"/>
                </a:lnTo>
                <a:lnTo>
                  <a:pt x="0" y="302895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59" name="Freeform 458"/>
          <p:cNvSpPr/>
          <p:nvPr/>
        </p:nvSpPr>
        <p:spPr>
          <a:xfrm rot="8100000" flipV="1">
            <a:off x="3532685" y="-107838"/>
            <a:ext cx="783646" cy="1126896"/>
          </a:xfrm>
          <a:custGeom>
            <a:avLst/>
            <a:gdLst>
              <a:gd name="connsiteX0" fmla="*/ 768350 w 768350"/>
              <a:gd name="connsiteY0" fmla="*/ 0 h 1104900"/>
              <a:gd name="connsiteX1" fmla="*/ 0 w 768350"/>
              <a:gd name="connsiteY1" fmla="*/ 768350 h 1104900"/>
              <a:gd name="connsiteX2" fmla="*/ 0 w 768350"/>
              <a:gd name="connsiteY2" fmla="*/ 946150 h 1104900"/>
              <a:gd name="connsiteX3" fmla="*/ 69850 w 768350"/>
              <a:gd name="connsiteY3" fmla="*/ 1016000 h 1104900"/>
              <a:gd name="connsiteX4" fmla="*/ 69850 w 768350"/>
              <a:gd name="connsiteY4" fmla="*/ 110490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8350" h="1104900">
                <a:moveTo>
                  <a:pt x="768350" y="0"/>
                </a:moveTo>
                <a:lnTo>
                  <a:pt x="0" y="768350"/>
                </a:lnTo>
                <a:lnTo>
                  <a:pt x="0" y="946150"/>
                </a:lnTo>
                <a:lnTo>
                  <a:pt x="69850" y="1016000"/>
                </a:lnTo>
                <a:lnTo>
                  <a:pt x="69850" y="11049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0" name="Freeform 459"/>
          <p:cNvSpPr/>
          <p:nvPr/>
        </p:nvSpPr>
        <p:spPr>
          <a:xfrm rot="8100000" flipV="1">
            <a:off x="2912641" y="-245750"/>
            <a:ext cx="1301051" cy="1750170"/>
          </a:xfrm>
          <a:custGeom>
            <a:avLst/>
            <a:gdLst>
              <a:gd name="connsiteX0" fmla="*/ 774700 w 774700"/>
              <a:gd name="connsiteY0" fmla="*/ 0 h 1308100"/>
              <a:gd name="connsiteX1" fmla="*/ 0 w 774700"/>
              <a:gd name="connsiteY1" fmla="*/ 774700 h 1308100"/>
              <a:gd name="connsiteX2" fmla="*/ 0 w 774700"/>
              <a:gd name="connsiteY2" fmla="*/ 939800 h 1308100"/>
              <a:gd name="connsiteX3" fmla="*/ 146050 w 774700"/>
              <a:gd name="connsiteY3" fmla="*/ 1085850 h 1308100"/>
              <a:gd name="connsiteX4" fmla="*/ 146050 w 774700"/>
              <a:gd name="connsiteY4" fmla="*/ 1162050 h 1308100"/>
              <a:gd name="connsiteX5" fmla="*/ 63500 w 774700"/>
              <a:gd name="connsiteY5" fmla="*/ 1244600 h 1308100"/>
              <a:gd name="connsiteX6" fmla="*/ 63500 w 774700"/>
              <a:gd name="connsiteY6" fmla="*/ 1308100 h 1308100"/>
              <a:gd name="connsiteX0" fmla="*/ 1545206 w 1545206"/>
              <a:gd name="connsiteY0" fmla="*/ 0 h 2078606"/>
              <a:gd name="connsiteX1" fmla="*/ 0 w 1545206"/>
              <a:gd name="connsiteY1" fmla="*/ 1545206 h 2078606"/>
              <a:gd name="connsiteX2" fmla="*/ 0 w 1545206"/>
              <a:gd name="connsiteY2" fmla="*/ 1710306 h 2078606"/>
              <a:gd name="connsiteX3" fmla="*/ 146050 w 1545206"/>
              <a:gd name="connsiteY3" fmla="*/ 1856356 h 2078606"/>
              <a:gd name="connsiteX4" fmla="*/ 146050 w 1545206"/>
              <a:gd name="connsiteY4" fmla="*/ 1932556 h 2078606"/>
              <a:gd name="connsiteX5" fmla="*/ 63500 w 1545206"/>
              <a:gd name="connsiteY5" fmla="*/ 2015106 h 2078606"/>
              <a:gd name="connsiteX6" fmla="*/ 63500 w 1545206"/>
              <a:gd name="connsiteY6" fmla="*/ 2078606 h 2078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45206" h="2078606">
                <a:moveTo>
                  <a:pt x="1545206" y="0"/>
                </a:moveTo>
                <a:lnTo>
                  <a:pt x="0" y="1545206"/>
                </a:lnTo>
                <a:lnTo>
                  <a:pt x="0" y="1710306"/>
                </a:lnTo>
                <a:lnTo>
                  <a:pt x="146050" y="1856356"/>
                </a:lnTo>
                <a:lnTo>
                  <a:pt x="146050" y="1932556"/>
                </a:lnTo>
                <a:lnTo>
                  <a:pt x="63500" y="2015106"/>
                </a:lnTo>
                <a:lnTo>
                  <a:pt x="63500" y="2078606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1" name="Freeform 460"/>
          <p:cNvSpPr/>
          <p:nvPr/>
        </p:nvSpPr>
        <p:spPr>
          <a:xfrm rot="8100000" flipV="1">
            <a:off x="3487937" y="-296281"/>
            <a:ext cx="1335062" cy="3372781"/>
          </a:xfrm>
          <a:custGeom>
            <a:avLst/>
            <a:gdLst>
              <a:gd name="connsiteX0" fmla="*/ 736600 w 736600"/>
              <a:gd name="connsiteY0" fmla="*/ 0 h 2965450"/>
              <a:gd name="connsiteX1" fmla="*/ 63500 w 736600"/>
              <a:gd name="connsiteY1" fmla="*/ 673100 h 2965450"/>
              <a:gd name="connsiteX2" fmla="*/ 63500 w 736600"/>
              <a:gd name="connsiteY2" fmla="*/ 749300 h 2965450"/>
              <a:gd name="connsiteX3" fmla="*/ 146050 w 736600"/>
              <a:gd name="connsiteY3" fmla="*/ 831850 h 2965450"/>
              <a:gd name="connsiteX4" fmla="*/ 323850 w 736600"/>
              <a:gd name="connsiteY4" fmla="*/ 831850 h 2965450"/>
              <a:gd name="connsiteX5" fmla="*/ 438150 w 736600"/>
              <a:gd name="connsiteY5" fmla="*/ 946150 h 2965450"/>
              <a:gd name="connsiteX6" fmla="*/ 438150 w 736600"/>
              <a:gd name="connsiteY6" fmla="*/ 1066800 h 2965450"/>
              <a:gd name="connsiteX7" fmla="*/ 260350 w 736600"/>
              <a:gd name="connsiteY7" fmla="*/ 1244600 h 2965450"/>
              <a:gd name="connsiteX8" fmla="*/ 260350 w 736600"/>
              <a:gd name="connsiteY8" fmla="*/ 1346200 h 2965450"/>
              <a:gd name="connsiteX9" fmla="*/ 311150 w 736600"/>
              <a:gd name="connsiteY9" fmla="*/ 1397000 h 2965450"/>
              <a:gd name="connsiteX10" fmla="*/ 311150 w 736600"/>
              <a:gd name="connsiteY10" fmla="*/ 1479550 h 2965450"/>
              <a:gd name="connsiteX11" fmla="*/ 311150 w 736600"/>
              <a:gd name="connsiteY11" fmla="*/ 1638300 h 2965450"/>
              <a:gd name="connsiteX12" fmla="*/ 546100 w 736600"/>
              <a:gd name="connsiteY12" fmla="*/ 1873250 h 2965450"/>
              <a:gd name="connsiteX13" fmla="*/ 546100 w 736600"/>
              <a:gd name="connsiteY13" fmla="*/ 2146300 h 2965450"/>
              <a:gd name="connsiteX14" fmla="*/ 0 w 736600"/>
              <a:gd name="connsiteY14" fmla="*/ 2692400 h 2965450"/>
              <a:gd name="connsiteX15" fmla="*/ 0 w 736600"/>
              <a:gd name="connsiteY15" fmla="*/ 2965450 h 2965450"/>
              <a:gd name="connsiteX0" fmla="*/ 1453225 w 1453225"/>
              <a:gd name="connsiteY0" fmla="*/ 0 h 3671298"/>
              <a:gd name="connsiteX1" fmla="*/ 63500 w 1453225"/>
              <a:gd name="connsiteY1" fmla="*/ 1378948 h 3671298"/>
              <a:gd name="connsiteX2" fmla="*/ 63500 w 1453225"/>
              <a:gd name="connsiteY2" fmla="*/ 1455148 h 3671298"/>
              <a:gd name="connsiteX3" fmla="*/ 146050 w 1453225"/>
              <a:gd name="connsiteY3" fmla="*/ 1537698 h 3671298"/>
              <a:gd name="connsiteX4" fmla="*/ 323850 w 1453225"/>
              <a:gd name="connsiteY4" fmla="*/ 1537698 h 3671298"/>
              <a:gd name="connsiteX5" fmla="*/ 438150 w 1453225"/>
              <a:gd name="connsiteY5" fmla="*/ 1651998 h 3671298"/>
              <a:gd name="connsiteX6" fmla="*/ 438150 w 1453225"/>
              <a:gd name="connsiteY6" fmla="*/ 1772648 h 3671298"/>
              <a:gd name="connsiteX7" fmla="*/ 260350 w 1453225"/>
              <a:gd name="connsiteY7" fmla="*/ 1950448 h 3671298"/>
              <a:gd name="connsiteX8" fmla="*/ 260350 w 1453225"/>
              <a:gd name="connsiteY8" fmla="*/ 2052048 h 3671298"/>
              <a:gd name="connsiteX9" fmla="*/ 311150 w 1453225"/>
              <a:gd name="connsiteY9" fmla="*/ 2102848 h 3671298"/>
              <a:gd name="connsiteX10" fmla="*/ 311150 w 1453225"/>
              <a:gd name="connsiteY10" fmla="*/ 2185398 h 3671298"/>
              <a:gd name="connsiteX11" fmla="*/ 311150 w 1453225"/>
              <a:gd name="connsiteY11" fmla="*/ 2344148 h 3671298"/>
              <a:gd name="connsiteX12" fmla="*/ 546100 w 1453225"/>
              <a:gd name="connsiteY12" fmla="*/ 2579098 h 3671298"/>
              <a:gd name="connsiteX13" fmla="*/ 546100 w 1453225"/>
              <a:gd name="connsiteY13" fmla="*/ 2852148 h 3671298"/>
              <a:gd name="connsiteX14" fmla="*/ 0 w 1453225"/>
              <a:gd name="connsiteY14" fmla="*/ 3398248 h 3671298"/>
              <a:gd name="connsiteX15" fmla="*/ 0 w 1453225"/>
              <a:gd name="connsiteY15" fmla="*/ 3671298 h 3671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453225" h="3671298">
                <a:moveTo>
                  <a:pt x="1453225" y="0"/>
                </a:moveTo>
                <a:lnTo>
                  <a:pt x="63500" y="1378948"/>
                </a:lnTo>
                <a:lnTo>
                  <a:pt x="63500" y="1455148"/>
                </a:lnTo>
                <a:lnTo>
                  <a:pt x="146050" y="1537698"/>
                </a:lnTo>
                <a:lnTo>
                  <a:pt x="323850" y="1537698"/>
                </a:lnTo>
                <a:lnTo>
                  <a:pt x="438150" y="1651998"/>
                </a:lnTo>
                <a:lnTo>
                  <a:pt x="438150" y="1772648"/>
                </a:lnTo>
                <a:lnTo>
                  <a:pt x="260350" y="1950448"/>
                </a:lnTo>
                <a:lnTo>
                  <a:pt x="260350" y="2052048"/>
                </a:lnTo>
                <a:lnTo>
                  <a:pt x="311150" y="2102848"/>
                </a:lnTo>
                <a:lnTo>
                  <a:pt x="311150" y="2185398"/>
                </a:lnTo>
                <a:lnTo>
                  <a:pt x="311150" y="2344148"/>
                </a:lnTo>
                <a:lnTo>
                  <a:pt x="546100" y="2579098"/>
                </a:lnTo>
                <a:lnTo>
                  <a:pt x="546100" y="2852148"/>
                </a:lnTo>
                <a:lnTo>
                  <a:pt x="0" y="3398248"/>
                </a:lnTo>
                <a:lnTo>
                  <a:pt x="0" y="3671298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2" name="Freeform 461"/>
          <p:cNvSpPr/>
          <p:nvPr/>
        </p:nvSpPr>
        <p:spPr>
          <a:xfrm rot="8100000" flipV="1">
            <a:off x="6045881" y="2197642"/>
            <a:ext cx="1176135" cy="1375285"/>
          </a:xfrm>
          <a:custGeom>
            <a:avLst/>
            <a:gdLst>
              <a:gd name="connsiteX0" fmla="*/ 614363 w 614363"/>
              <a:gd name="connsiteY0" fmla="*/ 0 h 809625"/>
              <a:gd name="connsiteX1" fmla="*/ 0 w 614363"/>
              <a:gd name="connsiteY1" fmla="*/ 614363 h 809625"/>
              <a:gd name="connsiteX2" fmla="*/ 0 w 614363"/>
              <a:gd name="connsiteY2" fmla="*/ 809625 h 809625"/>
              <a:gd name="connsiteX0" fmla="*/ 1147790 w 1147790"/>
              <a:gd name="connsiteY0" fmla="*/ 0 h 1332276"/>
              <a:gd name="connsiteX1" fmla="*/ 0 w 1147790"/>
              <a:gd name="connsiteY1" fmla="*/ 1137014 h 1332276"/>
              <a:gd name="connsiteX2" fmla="*/ 0 w 1147790"/>
              <a:gd name="connsiteY2" fmla="*/ 1332276 h 1332276"/>
              <a:gd name="connsiteX0" fmla="*/ 1153178 w 1153178"/>
              <a:gd name="connsiteY0" fmla="*/ 0 h 1348441"/>
              <a:gd name="connsiteX1" fmla="*/ 0 w 1153178"/>
              <a:gd name="connsiteY1" fmla="*/ 1153179 h 1348441"/>
              <a:gd name="connsiteX2" fmla="*/ 0 w 1153178"/>
              <a:gd name="connsiteY2" fmla="*/ 1348441 h 134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53178" h="1348441">
                <a:moveTo>
                  <a:pt x="1153178" y="0"/>
                </a:moveTo>
                <a:lnTo>
                  <a:pt x="0" y="1153179"/>
                </a:lnTo>
                <a:lnTo>
                  <a:pt x="0" y="1348441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3" name="Freeform 462"/>
          <p:cNvSpPr/>
          <p:nvPr/>
        </p:nvSpPr>
        <p:spPr>
          <a:xfrm rot="8100000" flipV="1">
            <a:off x="2543201" y="886433"/>
            <a:ext cx="1590554" cy="1085651"/>
          </a:xfrm>
          <a:custGeom>
            <a:avLst/>
            <a:gdLst>
              <a:gd name="connsiteX0" fmla="*/ 1804987 w 1804987"/>
              <a:gd name="connsiteY0" fmla="*/ 0 h 1309688"/>
              <a:gd name="connsiteX1" fmla="*/ 495299 w 1804987"/>
              <a:gd name="connsiteY1" fmla="*/ 1309688 h 1309688"/>
              <a:gd name="connsiteX2" fmla="*/ 319087 w 1804987"/>
              <a:gd name="connsiteY2" fmla="*/ 1309688 h 1309688"/>
              <a:gd name="connsiteX3" fmla="*/ 266700 w 1804987"/>
              <a:gd name="connsiteY3" fmla="*/ 1257301 h 1309688"/>
              <a:gd name="connsiteX4" fmla="*/ 0 w 1804987"/>
              <a:gd name="connsiteY4" fmla="*/ 1257301 h 1309688"/>
              <a:gd name="connsiteX0" fmla="*/ 1804987 w 1804987"/>
              <a:gd name="connsiteY0" fmla="*/ 0 h 1309688"/>
              <a:gd name="connsiteX1" fmla="*/ 1559508 w 1804987"/>
              <a:gd name="connsiteY1" fmla="*/ 245228 h 1309688"/>
              <a:gd name="connsiteX2" fmla="*/ 495299 w 1804987"/>
              <a:gd name="connsiteY2" fmla="*/ 1309688 h 1309688"/>
              <a:gd name="connsiteX3" fmla="*/ 319087 w 1804987"/>
              <a:gd name="connsiteY3" fmla="*/ 1309688 h 1309688"/>
              <a:gd name="connsiteX4" fmla="*/ 266700 w 1804987"/>
              <a:gd name="connsiteY4" fmla="*/ 1257301 h 1309688"/>
              <a:gd name="connsiteX5" fmla="*/ 0 w 1804987"/>
              <a:gd name="connsiteY5" fmla="*/ 1257301 h 1309688"/>
              <a:gd name="connsiteX0" fmla="*/ 1559508 w 1559508"/>
              <a:gd name="connsiteY0" fmla="*/ 0 h 1064460"/>
              <a:gd name="connsiteX1" fmla="*/ 495299 w 1559508"/>
              <a:gd name="connsiteY1" fmla="*/ 1064460 h 1064460"/>
              <a:gd name="connsiteX2" fmla="*/ 319087 w 1559508"/>
              <a:gd name="connsiteY2" fmla="*/ 1064460 h 1064460"/>
              <a:gd name="connsiteX3" fmla="*/ 266700 w 1559508"/>
              <a:gd name="connsiteY3" fmla="*/ 1012073 h 1064460"/>
              <a:gd name="connsiteX4" fmla="*/ 0 w 1559508"/>
              <a:gd name="connsiteY4" fmla="*/ 1012073 h 1064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9508" h="1064460">
                <a:moveTo>
                  <a:pt x="1559508" y="0"/>
                </a:moveTo>
                <a:lnTo>
                  <a:pt x="495299" y="1064460"/>
                </a:lnTo>
                <a:lnTo>
                  <a:pt x="319087" y="1064460"/>
                </a:lnTo>
                <a:lnTo>
                  <a:pt x="266700" y="1012073"/>
                </a:lnTo>
                <a:lnTo>
                  <a:pt x="0" y="1012073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4" name="Freeform 463"/>
          <p:cNvSpPr/>
          <p:nvPr/>
        </p:nvSpPr>
        <p:spPr>
          <a:xfrm rot="8100000" flipV="1">
            <a:off x="2688484" y="945248"/>
            <a:ext cx="1517205" cy="1424972"/>
          </a:xfrm>
          <a:custGeom>
            <a:avLst/>
            <a:gdLst>
              <a:gd name="connsiteX0" fmla="*/ 1809750 w 1809750"/>
              <a:gd name="connsiteY0" fmla="*/ 0 h 1714500"/>
              <a:gd name="connsiteX1" fmla="*/ 433388 w 1809750"/>
              <a:gd name="connsiteY1" fmla="*/ 1376362 h 1714500"/>
              <a:gd name="connsiteX2" fmla="*/ 247650 w 1809750"/>
              <a:gd name="connsiteY2" fmla="*/ 1376362 h 1714500"/>
              <a:gd name="connsiteX3" fmla="*/ 0 w 1809750"/>
              <a:gd name="connsiteY3" fmla="*/ 1624012 h 1714500"/>
              <a:gd name="connsiteX4" fmla="*/ 0 w 1809750"/>
              <a:gd name="connsiteY4" fmla="*/ 1714500 h 1714500"/>
              <a:gd name="connsiteX0" fmla="*/ 1809750 w 1809750"/>
              <a:gd name="connsiteY0" fmla="*/ 0 h 1714500"/>
              <a:gd name="connsiteX1" fmla="*/ 1487591 w 1809750"/>
              <a:gd name="connsiteY1" fmla="*/ 317342 h 1714500"/>
              <a:gd name="connsiteX2" fmla="*/ 433388 w 1809750"/>
              <a:gd name="connsiteY2" fmla="*/ 1376362 h 1714500"/>
              <a:gd name="connsiteX3" fmla="*/ 247650 w 1809750"/>
              <a:gd name="connsiteY3" fmla="*/ 1376362 h 1714500"/>
              <a:gd name="connsiteX4" fmla="*/ 0 w 1809750"/>
              <a:gd name="connsiteY4" fmla="*/ 1624012 h 1714500"/>
              <a:gd name="connsiteX5" fmla="*/ 0 w 1809750"/>
              <a:gd name="connsiteY5" fmla="*/ 1714500 h 1714500"/>
              <a:gd name="connsiteX0" fmla="*/ 1487591 w 1487591"/>
              <a:gd name="connsiteY0" fmla="*/ 0 h 1397158"/>
              <a:gd name="connsiteX1" fmla="*/ 433388 w 1487591"/>
              <a:gd name="connsiteY1" fmla="*/ 1059020 h 1397158"/>
              <a:gd name="connsiteX2" fmla="*/ 247650 w 1487591"/>
              <a:gd name="connsiteY2" fmla="*/ 1059020 h 1397158"/>
              <a:gd name="connsiteX3" fmla="*/ 0 w 1487591"/>
              <a:gd name="connsiteY3" fmla="*/ 1306670 h 1397158"/>
              <a:gd name="connsiteX4" fmla="*/ 0 w 1487591"/>
              <a:gd name="connsiteY4" fmla="*/ 1397158 h 1397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7591" h="1397158">
                <a:moveTo>
                  <a:pt x="1487591" y="0"/>
                </a:moveTo>
                <a:lnTo>
                  <a:pt x="433388" y="1059020"/>
                </a:lnTo>
                <a:lnTo>
                  <a:pt x="247650" y="1059020"/>
                </a:lnTo>
                <a:lnTo>
                  <a:pt x="0" y="1306670"/>
                </a:lnTo>
                <a:lnTo>
                  <a:pt x="0" y="1397158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5" name="Freeform 464"/>
          <p:cNvSpPr/>
          <p:nvPr/>
        </p:nvSpPr>
        <p:spPr>
          <a:xfrm rot="8100000" flipV="1">
            <a:off x="2766617" y="1138593"/>
            <a:ext cx="1502491" cy="1433794"/>
          </a:xfrm>
          <a:custGeom>
            <a:avLst/>
            <a:gdLst>
              <a:gd name="connsiteX0" fmla="*/ 1966913 w 1966913"/>
              <a:gd name="connsiteY0" fmla="*/ 0 h 1900238"/>
              <a:gd name="connsiteX1" fmla="*/ 66675 w 1966913"/>
              <a:gd name="connsiteY1" fmla="*/ 1900238 h 1900238"/>
              <a:gd name="connsiteX2" fmla="*/ 0 w 1966913"/>
              <a:gd name="connsiteY2" fmla="*/ 1900238 h 1900238"/>
              <a:gd name="connsiteX0" fmla="*/ 1966913 w 1966913"/>
              <a:gd name="connsiteY0" fmla="*/ 0 h 1900238"/>
              <a:gd name="connsiteX1" fmla="*/ 1473164 w 1966913"/>
              <a:gd name="connsiteY1" fmla="*/ 494430 h 1900238"/>
              <a:gd name="connsiteX2" fmla="*/ 66675 w 1966913"/>
              <a:gd name="connsiteY2" fmla="*/ 1900238 h 1900238"/>
              <a:gd name="connsiteX3" fmla="*/ 0 w 1966913"/>
              <a:gd name="connsiteY3" fmla="*/ 1900238 h 1900238"/>
              <a:gd name="connsiteX0" fmla="*/ 1473164 w 1473164"/>
              <a:gd name="connsiteY0" fmla="*/ 0 h 1405808"/>
              <a:gd name="connsiteX1" fmla="*/ 66675 w 1473164"/>
              <a:gd name="connsiteY1" fmla="*/ 1405808 h 1405808"/>
              <a:gd name="connsiteX2" fmla="*/ 0 w 1473164"/>
              <a:gd name="connsiteY2" fmla="*/ 1405808 h 140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3164" h="1405808">
                <a:moveTo>
                  <a:pt x="1473164" y="0"/>
                </a:moveTo>
                <a:lnTo>
                  <a:pt x="66675" y="1405808"/>
                </a:lnTo>
                <a:lnTo>
                  <a:pt x="0" y="1405808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6" name="Freeform 465"/>
          <p:cNvSpPr/>
          <p:nvPr/>
        </p:nvSpPr>
        <p:spPr>
          <a:xfrm rot="8100000" flipV="1">
            <a:off x="3075753" y="574028"/>
            <a:ext cx="2697060" cy="2802963"/>
          </a:xfrm>
          <a:custGeom>
            <a:avLst/>
            <a:gdLst>
              <a:gd name="connsiteX0" fmla="*/ 2867025 w 2867025"/>
              <a:gd name="connsiteY0" fmla="*/ 0 h 3200400"/>
              <a:gd name="connsiteX1" fmla="*/ 909637 w 2867025"/>
              <a:gd name="connsiteY1" fmla="*/ 1957388 h 3200400"/>
              <a:gd name="connsiteX2" fmla="*/ 909637 w 2867025"/>
              <a:gd name="connsiteY2" fmla="*/ 2047875 h 3200400"/>
              <a:gd name="connsiteX3" fmla="*/ 271462 w 2867025"/>
              <a:gd name="connsiteY3" fmla="*/ 2686050 h 3200400"/>
              <a:gd name="connsiteX4" fmla="*/ 271462 w 2867025"/>
              <a:gd name="connsiteY4" fmla="*/ 2995613 h 3200400"/>
              <a:gd name="connsiteX5" fmla="*/ 66675 w 2867025"/>
              <a:gd name="connsiteY5" fmla="*/ 3200400 h 3200400"/>
              <a:gd name="connsiteX6" fmla="*/ 0 w 2867025"/>
              <a:gd name="connsiteY6" fmla="*/ 3200400 h 3200400"/>
              <a:gd name="connsiteX0" fmla="*/ 3163373 w 3163373"/>
              <a:gd name="connsiteY0" fmla="*/ 0 h 3200400"/>
              <a:gd name="connsiteX1" fmla="*/ 1205985 w 3163373"/>
              <a:gd name="connsiteY1" fmla="*/ 1957388 h 3200400"/>
              <a:gd name="connsiteX2" fmla="*/ 1205985 w 3163373"/>
              <a:gd name="connsiteY2" fmla="*/ 2047875 h 3200400"/>
              <a:gd name="connsiteX3" fmla="*/ 567810 w 3163373"/>
              <a:gd name="connsiteY3" fmla="*/ 2686050 h 3200400"/>
              <a:gd name="connsiteX4" fmla="*/ 567810 w 3163373"/>
              <a:gd name="connsiteY4" fmla="*/ 2995613 h 3200400"/>
              <a:gd name="connsiteX5" fmla="*/ 363023 w 3163373"/>
              <a:gd name="connsiteY5" fmla="*/ 3200400 h 3200400"/>
              <a:gd name="connsiteX6" fmla="*/ 0 w 3163373"/>
              <a:gd name="connsiteY6" fmla="*/ 3159988 h 3200400"/>
              <a:gd name="connsiteX0" fmla="*/ 3163373 w 3163373"/>
              <a:gd name="connsiteY0" fmla="*/ 0 h 3200400"/>
              <a:gd name="connsiteX1" fmla="*/ 1205985 w 3163373"/>
              <a:gd name="connsiteY1" fmla="*/ 1957388 h 3200400"/>
              <a:gd name="connsiteX2" fmla="*/ 1205985 w 3163373"/>
              <a:gd name="connsiteY2" fmla="*/ 2047875 h 3200400"/>
              <a:gd name="connsiteX3" fmla="*/ 567810 w 3163373"/>
              <a:gd name="connsiteY3" fmla="*/ 2686050 h 3200400"/>
              <a:gd name="connsiteX4" fmla="*/ 567810 w 3163373"/>
              <a:gd name="connsiteY4" fmla="*/ 2995613 h 3200400"/>
              <a:gd name="connsiteX5" fmla="*/ 363023 w 3163373"/>
              <a:gd name="connsiteY5" fmla="*/ 3200400 h 3200400"/>
              <a:gd name="connsiteX6" fmla="*/ 161376 w 3163373"/>
              <a:gd name="connsiteY6" fmla="*/ 3168674 h 3200400"/>
              <a:gd name="connsiteX7" fmla="*/ 0 w 3163373"/>
              <a:gd name="connsiteY7" fmla="*/ 3159988 h 3200400"/>
              <a:gd name="connsiteX0" fmla="*/ 3126329 w 3126329"/>
              <a:gd name="connsiteY0" fmla="*/ 0 h 3230707"/>
              <a:gd name="connsiteX1" fmla="*/ 1168941 w 3126329"/>
              <a:gd name="connsiteY1" fmla="*/ 1957388 h 3230707"/>
              <a:gd name="connsiteX2" fmla="*/ 1168941 w 3126329"/>
              <a:gd name="connsiteY2" fmla="*/ 2047875 h 3230707"/>
              <a:gd name="connsiteX3" fmla="*/ 530766 w 3126329"/>
              <a:gd name="connsiteY3" fmla="*/ 2686050 h 3230707"/>
              <a:gd name="connsiteX4" fmla="*/ 530766 w 3126329"/>
              <a:gd name="connsiteY4" fmla="*/ 2995613 h 3230707"/>
              <a:gd name="connsiteX5" fmla="*/ 325979 w 3126329"/>
              <a:gd name="connsiteY5" fmla="*/ 3200400 h 3230707"/>
              <a:gd name="connsiteX6" fmla="*/ 124332 w 3126329"/>
              <a:gd name="connsiteY6" fmla="*/ 3168674 h 3230707"/>
              <a:gd name="connsiteX7" fmla="*/ 0 w 3126329"/>
              <a:gd name="connsiteY7" fmla="*/ 3230707 h 3230707"/>
              <a:gd name="connsiteX0" fmla="*/ 3126329 w 3126329"/>
              <a:gd name="connsiteY0" fmla="*/ 0 h 3230707"/>
              <a:gd name="connsiteX1" fmla="*/ 1168941 w 3126329"/>
              <a:gd name="connsiteY1" fmla="*/ 1957388 h 3230707"/>
              <a:gd name="connsiteX2" fmla="*/ 1168941 w 3126329"/>
              <a:gd name="connsiteY2" fmla="*/ 2047875 h 3230707"/>
              <a:gd name="connsiteX3" fmla="*/ 530766 w 3126329"/>
              <a:gd name="connsiteY3" fmla="*/ 2686050 h 3230707"/>
              <a:gd name="connsiteX4" fmla="*/ 530766 w 3126329"/>
              <a:gd name="connsiteY4" fmla="*/ 2995613 h 3230707"/>
              <a:gd name="connsiteX5" fmla="*/ 325979 w 3126329"/>
              <a:gd name="connsiteY5" fmla="*/ 3200400 h 3230707"/>
              <a:gd name="connsiteX6" fmla="*/ 77186 w 3126329"/>
              <a:gd name="connsiteY6" fmla="*/ 3161939 h 3230707"/>
              <a:gd name="connsiteX7" fmla="*/ 0 w 3126329"/>
              <a:gd name="connsiteY7" fmla="*/ 3230707 h 3230707"/>
              <a:gd name="connsiteX0" fmla="*/ 3126329 w 3126329"/>
              <a:gd name="connsiteY0" fmla="*/ 0 h 3230707"/>
              <a:gd name="connsiteX1" fmla="*/ 2644417 w 3126329"/>
              <a:gd name="connsiteY1" fmla="*/ 482455 h 3230707"/>
              <a:gd name="connsiteX2" fmla="*/ 1168941 w 3126329"/>
              <a:gd name="connsiteY2" fmla="*/ 1957388 h 3230707"/>
              <a:gd name="connsiteX3" fmla="*/ 1168941 w 3126329"/>
              <a:gd name="connsiteY3" fmla="*/ 2047875 h 3230707"/>
              <a:gd name="connsiteX4" fmla="*/ 530766 w 3126329"/>
              <a:gd name="connsiteY4" fmla="*/ 2686050 h 3230707"/>
              <a:gd name="connsiteX5" fmla="*/ 530766 w 3126329"/>
              <a:gd name="connsiteY5" fmla="*/ 2995613 h 3230707"/>
              <a:gd name="connsiteX6" fmla="*/ 325979 w 3126329"/>
              <a:gd name="connsiteY6" fmla="*/ 3200400 h 3230707"/>
              <a:gd name="connsiteX7" fmla="*/ 77186 w 3126329"/>
              <a:gd name="connsiteY7" fmla="*/ 3161939 h 3230707"/>
              <a:gd name="connsiteX8" fmla="*/ 0 w 3126329"/>
              <a:gd name="connsiteY8" fmla="*/ 3230707 h 3230707"/>
              <a:gd name="connsiteX0" fmla="*/ 2644417 w 2644417"/>
              <a:gd name="connsiteY0" fmla="*/ 0 h 2748252"/>
              <a:gd name="connsiteX1" fmla="*/ 1168941 w 2644417"/>
              <a:gd name="connsiteY1" fmla="*/ 1474933 h 2748252"/>
              <a:gd name="connsiteX2" fmla="*/ 1168941 w 2644417"/>
              <a:gd name="connsiteY2" fmla="*/ 1565420 h 2748252"/>
              <a:gd name="connsiteX3" fmla="*/ 530766 w 2644417"/>
              <a:gd name="connsiteY3" fmla="*/ 2203595 h 2748252"/>
              <a:gd name="connsiteX4" fmla="*/ 530766 w 2644417"/>
              <a:gd name="connsiteY4" fmla="*/ 2513158 h 2748252"/>
              <a:gd name="connsiteX5" fmla="*/ 325979 w 2644417"/>
              <a:gd name="connsiteY5" fmla="*/ 2717945 h 2748252"/>
              <a:gd name="connsiteX6" fmla="*/ 77186 w 2644417"/>
              <a:gd name="connsiteY6" fmla="*/ 2679484 h 2748252"/>
              <a:gd name="connsiteX7" fmla="*/ 0 w 2644417"/>
              <a:gd name="connsiteY7" fmla="*/ 2748252 h 2748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44417" h="2748252">
                <a:moveTo>
                  <a:pt x="2644417" y="0"/>
                </a:moveTo>
                <a:lnTo>
                  <a:pt x="1168941" y="1474933"/>
                </a:lnTo>
                <a:lnTo>
                  <a:pt x="1168941" y="1565420"/>
                </a:lnTo>
                <a:lnTo>
                  <a:pt x="530766" y="2203595"/>
                </a:lnTo>
                <a:lnTo>
                  <a:pt x="530766" y="2513158"/>
                </a:lnTo>
                <a:lnTo>
                  <a:pt x="325979" y="2717945"/>
                </a:lnTo>
                <a:lnTo>
                  <a:pt x="77186" y="2679484"/>
                </a:lnTo>
                <a:lnTo>
                  <a:pt x="0" y="2748252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7" name="Freeform 466"/>
          <p:cNvSpPr/>
          <p:nvPr/>
        </p:nvSpPr>
        <p:spPr>
          <a:xfrm rot="8100000" flipV="1">
            <a:off x="3118091" y="626835"/>
            <a:ext cx="2615952" cy="2883625"/>
          </a:xfrm>
          <a:custGeom>
            <a:avLst/>
            <a:gdLst>
              <a:gd name="connsiteX0" fmla="*/ 2919413 w 2919413"/>
              <a:gd name="connsiteY0" fmla="*/ 0 h 3228975"/>
              <a:gd name="connsiteX1" fmla="*/ 1057275 w 2919413"/>
              <a:gd name="connsiteY1" fmla="*/ 1862138 h 3228975"/>
              <a:gd name="connsiteX2" fmla="*/ 1057275 w 2919413"/>
              <a:gd name="connsiteY2" fmla="*/ 1976438 h 3228975"/>
              <a:gd name="connsiteX3" fmla="*/ 466725 w 2919413"/>
              <a:gd name="connsiteY3" fmla="*/ 2566988 h 3228975"/>
              <a:gd name="connsiteX4" fmla="*/ 466725 w 2919413"/>
              <a:gd name="connsiteY4" fmla="*/ 2867025 h 3228975"/>
              <a:gd name="connsiteX5" fmla="*/ 104775 w 2919413"/>
              <a:gd name="connsiteY5" fmla="*/ 3228975 h 3228975"/>
              <a:gd name="connsiteX6" fmla="*/ 0 w 2919413"/>
              <a:gd name="connsiteY6" fmla="*/ 3228975 h 3228975"/>
              <a:gd name="connsiteX0" fmla="*/ 3070954 w 3070954"/>
              <a:gd name="connsiteY0" fmla="*/ 0 h 3228975"/>
              <a:gd name="connsiteX1" fmla="*/ 1208816 w 3070954"/>
              <a:gd name="connsiteY1" fmla="*/ 1862138 h 3228975"/>
              <a:gd name="connsiteX2" fmla="*/ 1208816 w 3070954"/>
              <a:gd name="connsiteY2" fmla="*/ 1976438 h 3228975"/>
              <a:gd name="connsiteX3" fmla="*/ 618266 w 3070954"/>
              <a:gd name="connsiteY3" fmla="*/ 2566988 h 3228975"/>
              <a:gd name="connsiteX4" fmla="*/ 618266 w 3070954"/>
              <a:gd name="connsiteY4" fmla="*/ 2867025 h 3228975"/>
              <a:gd name="connsiteX5" fmla="*/ 256316 w 3070954"/>
              <a:gd name="connsiteY5" fmla="*/ 3228975 h 3228975"/>
              <a:gd name="connsiteX6" fmla="*/ 0 w 3070954"/>
              <a:gd name="connsiteY6" fmla="*/ 3218872 h 3228975"/>
              <a:gd name="connsiteX0" fmla="*/ 3070954 w 3070954"/>
              <a:gd name="connsiteY0" fmla="*/ 0 h 3228975"/>
              <a:gd name="connsiteX1" fmla="*/ 1208816 w 3070954"/>
              <a:gd name="connsiteY1" fmla="*/ 1862138 h 3228975"/>
              <a:gd name="connsiteX2" fmla="*/ 1208816 w 3070954"/>
              <a:gd name="connsiteY2" fmla="*/ 1976438 h 3228975"/>
              <a:gd name="connsiteX3" fmla="*/ 618266 w 3070954"/>
              <a:gd name="connsiteY3" fmla="*/ 2566988 h 3228975"/>
              <a:gd name="connsiteX4" fmla="*/ 618266 w 3070954"/>
              <a:gd name="connsiteY4" fmla="*/ 2867025 h 3228975"/>
              <a:gd name="connsiteX5" fmla="*/ 256316 w 3070954"/>
              <a:gd name="connsiteY5" fmla="*/ 3228975 h 3228975"/>
              <a:gd name="connsiteX6" fmla="*/ 115526 w 3070954"/>
              <a:gd name="connsiteY6" fmla="*/ 3219863 h 3228975"/>
              <a:gd name="connsiteX7" fmla="*/ 0 w 3070954"/>
              <a:gd name="connsiteY7" fmla="*/ 3218872 h 3228975"/>
              <a:gd name="connsiteX0" fmla="*/ 3017073 w 3017073"/>
              <a:gd name="connsiteY0" fmla="*/ 0 h 3272753"/>
              <a:gd name="connsiteX1" fmla="*/ 1154935 w 3017073"/>
              <a:gd name="connsiteY1" fmla="*/ 1862138 h 3272753"/>
              <a:gd name="connsiteX2" fmla="*/ 1154935 w 3017073"/>
              <a:gd name="connsiteY2" fmla="*/ 1976438 h 3272753"/>
              <a:gd name="connsiteX3" fmla="*/ 564385 w 3017073"/>
              <a:gd name="connsiteY3" fmla="*/ 2566988 h 3272753"/>
              <a:gd name="connsiteX4" fmla="*/ 564385 w 3017073"/>
              <a:gd name="connsiteY4" fmla="*/ 2867025 h 3272753"/>
              <a:gd name="connsiteX5" fmla="*/ 202435 w 3017073"/>
              <a:gd name="connsiteY5" fmla="*/ 3228975 h 3272753"/>
              <a:gd name="connsiteX6" fmla="*/ 61645 w 3017073"/>
              <a:gd name="connsiteY6" fmla="*/ 3219863 h 3272753"/>
              <a:gd name="connsiteX7" fmla="*/ 0 w 3017073"/>
              <a:gd name="connsiteY7" fmla="*/ 3272753 h 3272753"/>
              <a:gd name="connsiteX0" fmla="*/ 3003603 w 3003603"/>
              <a:gd name="connsiteY0" fmla="*/ 0 h 3272753"/>
              <a:gd name="connsiteX1" fmla="*/ 1141465 w 3003603"/>
              <a:gd name="connsiteY1" fmla="*/ 1862138 h 3272753"/>
              <a:gd name="connsiteX2" fmla="*/ 1141465 w 3003603"/>
              <a:gd name="connsiteY2" fmla="*/ 1976438 h 3272753"/>
              <a:gd name="connsiteX3" fmla="*/ 550915 w 3003603"/>
              <a:gd name="connsiteY3" fmla="*/ 2566988 h 3272753"/>
              <a:gd name="connsiteX4" fmla="*/ 550915 w 3003603"/>
              <a:gd name="connsiteY4" fmla="*/ 2867025 h 3272753"/>
              <a:gd name="connsiteX5" fmla="*/ 188965 w 3003603"/>
              <a:gd name="connsiteY5" fmla="*/ 3228975 h 3272753"/>
              <a:gd name="connsiteX6" fmla="*/ 48175 w 3003603"/>
              <a:gd name="connsiteY6" fmla="*/ 3219863 h 3272753"/>
              <a:gd name="connsiteX7" fmla="*/ 0 w 3003603"/>
              <a:gd name="connsiteY7" fmla="*/ 3272753 h 3272753"/>
              <a:gd name="connsiteX0" fmla="*/ 3013706 w 3013706"/>
              <a:gd name="connsiteY0" fmla="*/ 0 h 3269385"/>
              <a:gd name="connsiteX1" fmla="*/ 1151568 w 3013706"/>
              <a:gd name="connsiteY1" fmla="*/ 1862138 h 3269385"/>
              <a:gd name="connsiteX2" fmla="*/ 1151568 w 3013706"/>
              <a:gd name="connsiteY2" fmla="*/ 1976438 h 3269385"/>
              <a:gd name="connsiteX3" fmla="*/ 561018 w 3013706"/>
              <a:gd name="connsiteY3" fmla="*/ 2566988 h 3269385"/>
              <a:gd name="connsiteX4" fmla="*/ 561018 w 3013706"/>
              <a:gd name="connsiteY4" fmla="*/ 2867025 h 3269385"/>
              <a:gd name="connsiteX5" fmla="*/ 199068 w 3013706"/>
              <a:gd name="connsiteY5" fmla="*/ 3228975 h 3269385"/>
              <a:gd name="connsiteX6" fmla="*/ 58278 w 3013706"/>
              <a:gd name="connsiteY6" fmla="*/ 3219863 h 3269385"/>
              <a:gd name="connsiteX7" fmla="*/ 0 w 3013706"/>
              <a:gd name="connsiteY7" fmla="*/ 3269385 h 3269385"/>
              <a:gd name="connsiteX0" fmla="*/ 3013706 w 3013706"/>
              <a:gd name="connsiteY0" fmla="*/ 0 h 3269385"/>
              <a:gd name="connsiteX1" fmla="*/ 2564892 w 3013706"/>
              <a:gd name="connsiteY1" fmla="*/ 442045 h 3269385"/>
              <a:gd name="connsiteX2" fmla="*/ 1151568 w 3013706"/>
              <a:gd name="connsiteY2" fmla="*/ 1862138 h 3269385"/>
              <a:gd name="connsiteX3" fmla="*/ 1151568 w 3013706"/>
              <a:gd name="connsiteY3" fmla="*/ 1976438 h 3269385"/>
              <a:gd name="connsiteX4" fmla="*/ 561018 w 3013706"/>
              <a:gd name="connsiteY4" fmla="*/ 2566988 h 3269385"/>
              <a:gd name="connsiteX5" fmla="*/ 561018 w 3013706"/>
              <a:gd name="connsiteY5" fmla="*/ 2867025 h 3269385"/>
              <a:gd name="connsiteX6" fmla="*/ 199068 w 3013706"/>
              <a:gd name="connsiteY6" fmla="*/ 3228975 h 3269385"/>
              <a:gd name="connsiteX7" fmla="*/ 58278 w 3013706"/>
              <a:gd name="connsiteY7" fmla="*/ 3219863 h 3269385"/>
              <a:gd name="connsiteX8" fmla="*/ 0 w 3013706"/>
              <a:gd name="connsiteY8" fmla="*/ 3269385 h 3269385"/>
              <a:gd name="connsiteX0" fmla="*/ 2564892 w 2564892"/>
              <a:gd name="connsiteY0" fmla="*/ 0 h 2827340"/>
              <a:gd name="connsiteX1" fmla="*/ 1151568 w 2564892"/>
              <a:gd name="connsiteY1" fmla="*/ 1420093 h 2827340"/>
              <a:gd name="connsiteX2" fmla="*/ 1151568 w 2564892"/>
              <a:gd name="connsiteY2" fmla="*/ 1534393 h 2827340"/>
              <a:gd name="connsiteX3" fmla="*/ 561018 w 2564892"/>
              <a:gd name="connsiteY3" fmla="*/ 2124943 h 2827340"/>
              <a:gd name="connsiteX4" fmla="*/ 561018 w 2564892"/>
              <a:gd name="connsiteY4" fmla="*/ 2424980 h 2827340"/>
              <a:gd name="connsiteX5" fmla="*/ 199068 w 2564892"/>
              <a:gd name="connsiteY5" fmla="*/ 2786930 h 2827340"/>
              <a:gd name="connsiteX6" fmla="*/ 58278 w 2564892"/>
              <a:gd name="connsiteY6" fmla="*/ 2777818 h 2827340"/>
              <a:gd name="connsiteX7" fmla="*/ 0 w 2564892"/>
              <a:gd name="connsiteY7" fmla="*/ 2827340 h 2827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64892" h="2827340">
                <a:moveTo>
                  <a:pt x="2564892" y="0"/>
                </a:moveTo>
                <a:lnTo>
                  <a:pt x="1151568" y="1420093"/>
                </a:lnTo>
                <a:lnTo>
                  <a:pt x="1151568" y="1534393"/>
                </a:lnTo>
                <a:lnTo>
                  <a:pt x="561018" y="2124943"/>
                </a:lnTo>
                <a:lnTo>
                  <a:pt x="561018" y="2424980"/>
                </a:lnTo>
                <a:lnTo>
                  <a:pt x="199068" y="2786930"/>
                </a:lnTo>
                <a:lnTo>
                  <a:pt x="58278" y="2777818"/>
                </a:lnTo>
                <a:lnTo>
                  <a:pt x="0" y="282734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8" name="Freeform 467"/>
          <p:cNvSpPr/>
          <p:nvPr/>
        </p:nvSpPr>
        <p:spPr>
          <a:xfrm rot="8100000" flipV="1">
            <a:off x="3146953" y="696373"/>
            <a:ext cx="2536712" cy="2951673"/>
          </a:xfrm>
          <a:custGeom>
            <a:avLst/>
            <a:gdLst>
              <a:gd name="connsiteX0" fmla="*/ 2895601 w 2895601"/>
              <a:gd name="connsiteY0" fmla="*/ 0 h 3305175"/>
              <a:gd name="connsiteX1" fmla="*/ 1081088 w 2895601"/>
              <a:gd name="connsiteY1" fmla="*/ 1814513 h 3305175"/>
              <a:gd name="connsiteX2" fmla="*/ 1081088 w 2895601"/>
              <a:gd name="connsiteY2" fmla="*/ 1947862 h 3305175"/>
              <a:gd name="connsiteX3" fmla="*/ 495300 w 2895601"/>
              <a:gd name="connsiteY3" fmla="*/ 2533650 h 3305175"/>
              <a:gd name="connsiteX4" fmla="*/ 495300 w 2895601"/>
              <a:gd name="connsiteY4" fmla="*/ 2809875 h 3305175"/>
              <a:gd name="connsiteX5" fmla="*/ 0 w 2895601"/>
              <a:gd name="connsiteY5" fmla="*/ 3305175 h 3305175"/>
              <a:gd name="connsiteX0" fmla="*/ 2895601 w 2895601"/>
              <a:gd name="connsiteY0" fmla="*/ 0 h 3305175"/>
              <a:gd name="connsiteX1" fmla="*/ 2487198 w 2895601"/>
              <a:gd name="connsiteY1" fmla="*/ 411115 h 3305175"/>
              <a:gd name="connsiteX2" fmla="*/ 1081088 w 2895601"/>
              <a:gd name="connsiteY2" fmla="*/ 1814513 h 3305175"/>
              <a:gd name="connsiteX3" fmla="*/ 1081088 w 2895601"/>
              <a:gd name="connsiteY3" fmla="*/ 1947862 h 3305175"/>
              <a:gd name="connsiteX4" fmla="*/ 495300 w 2895601"/>
              <a:gd name="connsiteY4" fmla="*/ 2533650 h 3305175"/>
              <a:gd name="connsiteX5" fmla="*/ 495300 w 2895601"/>
              <a:gd name="connsiteY5" fmla="*/ 2809875 h 3305175"/>
              <a:gd name="connsiteX6" fmla="*/ 0 w 2895601"/>
              <a:gd name="connsiteY6" fmla="*/ 3305175 h 3305175"/>
              <a:gd name="connsiteX0" fmla="*/ 2487198 w 2487198"/>
              <a:gd name="connsiteY0" fmla="*/ 0 h 2894060"/>
              <a:gd name="connsiteX1" fmla="*/ 1081088 w 2487198"/>
              <a:gd name="connsiteY1" fmla="*/ 1403398 h 2894060"/>
              <a:gd name="connsiteX2" fmla="*/ 1081088 w 2487198"/>
              <a:gd name="connsiteY2" fmla="*/ 1536747 h 2894060"/>
              <a:gd name="connsiteX3" fmla="*/ 495300 w 2487198"/>
              <a:gd name="connsiteY3" fmla="*/ 2122535 h 2894060"/>
              <a:gd name="connsiteX4" fmla="*/ 495300 w 2487198"/>
              <a:gd name="connsiteY4" fmla="*/ 2398760 h 2894060"/>
              <a:gd name="connsiteX5" fmla="*/ 0 w 2487198"/>
              <a:gd name="connsiteY5" fmla="*/ 2894060 h 2894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7198" h="2894060">
                <a:moveTo>
                  <a:pt x="2487198" y="0"/>
                </a:moveTo>
                <a:lnTo>
                  <a:pt x="1081088" y="1403398"/>
                </a:lnTo>
                <a:lnTo>
                  <a:pt x="1081088" y="1536747"/>
                </a:lnTo>
                <a:lnTo>
                  <a:pt x="495300" y="2122535"/>
                </a:lnTo>
                <a:lnTo>
                  <a:pt x="495300" y="2398760"/>
                </a:lnTo>
                <a:lnTo>
                  <a:pt x="0" y="289406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9" name="Freeform 468"/>
          <p:cNvSpPr/>
          <p:nvPr/>
        </p:nvSpPr>
        <p:spPr>
          <a:xfrm rot="8100000" flipV="1">
            <a:off x="3033507" y="1064242"/>
            <a:ext cx="1871848" cy="2293580"/>
          </a:xfrm>
          <a:custGeom>
            <a:avLst/>
            <a:gdLst>
              <a:gd name="connsiteX0" fmla="*/ 2238375 w 2238375"/>
              <a:gd name="connsiteY0" fmla="*/ 0 h 2647950"/>
              <a:gd name="connsiteX1" fmla="*/ 457200 w 2238375"/>
              <a:gd name="connsiteY1" fmla="*/ 1781175 h 2647950"/>
              <a:gd name="connsiteX2" fmla="*/ 457200 w 2238375"/>
              <a:gd name="connsiteY2" fmla="*/ 1928813 h 2647950"/>
              <a:gd name="connsiteX3" fmla="*/ 390525 w 2238375"/>
              <a:gd name="connsiteY3" fmla="*/ 1995488 h 2647950"/>
              <a:gd name="connsiteX4" fmla="*/ 390525 w 2238375"/>
              <a:gd name="connsiteY4" fmla="*/ 2219325 h 2647950"/>
              <a:gd name="connsiteX5" fmla="*/ 271463 w 2238375"/>
              <a:gd name="connsiteY5" fmla="*/ 2338387 h 2647950"/>
              <a:gd name="connsiteX6" fmla="*/ 190500 w 2238375"/>
              <a:gd name="connsiteY6" fmla="*/ 2338387 h 2647950"/>
              <a:gd name="connsiteX7" fmla="*/ 0 w 2238375"/>
              <a:gd name="connsiteY7" fmla="*/ 2528887 h 2647950"/>
              <a:gd name="connsiteX8" fmla="*/ 0 w 2238375"/>
              <a:gd name="connsiteY8" fmla="*/ 2647950 h 2647950"/>
              <a:gd name="connsiteX0" fmla="*/ 2238375 w 2238375"/>
              <a:gd name="connsiteY0" fmla="*/ 0 h 2647950"/>
              <a:gd name="connsiteX1" fmla="*/ 1835312 w 2238375"/>
              <a:gd name="connsiteY1" fmla="*/ 399138 h 2647950"/>
              <a:gd name="connsiteX2" fmla="*/ 457200 w 2238375"/>
              <a:gd name="connsiteY2" fmla="*/ 1781175 h 2647950"/>
              <a:gd name="connsiteX3" fmla="*/ 457200 w 2238375"/>
              <a:gd name="connsiteY3" fmla="*/ 1928813 h 2647950"/>
              <a:gd name="connsiteX4" fmla="*/ 390525 w 2238375"/>
              <a:gd name="connsiteY4" fmla="*/ 1995488 h 2647950"/>
              <a:gd name="connsiteX5" fmla="*/ 390525 w 2238375"/>
              <a:gd name="connsiteY5" fmla="*/ 2219325 h 2647950"/>
              <a:gd name="connsiteX6" fmla="*/ 271463 w 2238375"/>
              <a:gd name="connsiteY6" fmla="*/ 2338387 h 2647950"/>
              <a:gd name="connsiteX7" fmla="*/ 190500 w 2238375"/>
              <a:gd name="connsiteY7" fmla="*/ 2338387 h 2647950"/>
              <a:gd name="connsiteX8" fmla="*/ 0 w 2238375"/>
              <a:gd name="connsiteY8" fmla="*/ 2528887 h 2647950"/>
              <a:gd name="connsiteX9" fmla="*/ 0 w 2238375"/>
              <a:gd name="connsiteY9" fmla="*/ 2647950 h 2647950"/>
              <a:gd name="connsiteX0" fmla="*/ 1835312 w 1835312"/>
              <a:gd name="connsiteY0" fmla="*/ 0 h 2248812"/>
              <a:gd name="connsiteX1" fmla="*/ 457200 w 1835312"/>
              <a:gd name="connsiteY1" fmla="*/ 1382037 h 2248812"/>
              <a:gd name="connsiteX2" fmla="*/ 457200 w 1835312"/>
              <a:gd name="connsiteY2" fmla="*/ 1529675 h 2248812"/>
              <a:gd name="connsiteX3" fmla="*/ 390525 w 1835312"/>
              <a:gd name="connsiteY3" fmla="*/ 1596350 h 2248812"/>
              <a:gd name="connsiteX4" fmla="*/ 390525 w 1835312"/>
              <a:gd name="connsiteY4" fmla="*/ 1820187 h 2248812"/>
              <a:gd name="connsiteX5" fmla="*/ 271463 w 1835312"/>
              <a:gd name="connsiteY5" fmla="*/ 1939249 h 2248812"/>
              <a:gd name="connsiteX6" fmla="*/ 190500 w 1835312"/>
              <a:gd name="connsiteY6" fmla="*/ 1939249 h 2248812"/>
              <a:gd name="connsiteX7" fmla="*/ 0 w 1835312"/>
              <a:gd name="connsiteY7" fmla="*/ 2129749 h 2248812"/>
              <a:gd name="connsiteX8" fmla="*/ 0 w 1835312"/>
              <a:gd name="connsiteY8" fmla="*/ 2248812 h 2248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35312" h="2248812">
                <a:moveTo>
                  <a:pt x="1835312" y="0"/>
                </a:moveTo>
                <a:lnTo>
                  <a:pt x="457200" y="1382037"/>
                </a:lnTo>
                <a:lnTo>
                  <a:pt x="457200" y="1529675"/>
                </a:lnTo>
                <a:lnTo>
                  <a:pt x="390525" y="1596350"/>
                </a:lnTo>
                <a:lnTo>
                  <a:pt x="390525" y="1820187"/>
                </a:lnTo>
                <a:lnTo>
                  <a:pt x="271463" y="1939249"/>
                </a:lnTo>
                <a:lnTo>
                  <a:pt x="190500" y="1939249"/>
                </a:lnTo>
                <a:lnTo>
                  <a:pt x="0" y="2129749"/>
                </a:lnTo>
                <a:lnTo>
                  <a:pt x="0" y="2248812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0" name="Freeform 469"/>
          <p:cNvSpPr/>
          <p:nvPr/>
        </p:nvSpPr>
        <p:spPr>
          <a:xfrm rot="8100000" flipV="1">
            <a:off x="2980744" y="1196655"/>
            <a:ext cx="1704199" cy="2109245"/>
          </a:xfrm>
          <a:custGeom>
            <a:avLst/>
            <a:gdLst>
              <a:gd name="connsiteX0" fmla="*/ 2028825 w 2028825"/>
              <a:gd name="connsiteY0" fmla="*/ 0 h 2424112"/>
              <a:gd name="connsiteX1" fmla="*/ 314325 w 2028825"/>
              <a:gd name="connsiteY1" fmla="*/ 1714500 h 2424112"/>
              <a:gd name="connsiteX2" fmla="*/ 314325 w 2028825"/>
              <a:gd name="connsiteY2" fmla="*/ 1876425 h 2424112"/>
              <a:gd name="connsiteX3" fmla="*/ 233362 w 2028825"/>
              <a:gd name="connsiteY3" fmla="*/ 1957388 h 2424112"/>
              <a:gd name="connsiteX4" fmla="*/ 233362 w 2028825"/>
              <a:gd name="connsiteY4" fmla="*/ 2190750 h 2424112"/>
              <a:gd name="connsiteX5" fmla="*/ 0 w 2028825"/>
              <a:gd name="connsiteY5" fmla="*/ 2424112 h 2424112"/>
              <a:gd name="connsiteX0" fmla="*/ 2028825 w 2028825"/>
              <a:gd name="connsiteY0" fmla="*/ 0 h 2424112"/>
              <a:gd name="connsiteX1" fmla="*/ 1670935 w 2028825"/>
              <a:gd name="connsiteY1" fmla="*/ 356037 h 2424112"/>
              <a:gd name="connsiteX2" fmla="*/ 314325 w 2028825"/>
              <a:gd name="connsiteY2" fmla="*/ 1714500 h 2424112"/>
              <a:gd name="connsiteX3" fmla="*/ 314325 w 2028825"/>
              <a:gd name="connsiteY3" fmla="*/ 1876425 h 2424112"/>
              <a:gd name="connsiteX4" fmla="*/ 233362 w 2028825"/>
              <a:gd name="connsiteY4" fmla="*/ 1957388 h 2424112"/>
              <a:gd name="connsiteX5" fmla="*/ 233362 w 2028825"/>
              <a:gd name="connsiteY5" fmla="*/ 2190750 h 2424112"/>
              <a:gd name="connsiteX6" fmla="*/ 0 w 2028825"/>
              <a:gd name="connsiteY6" fmla="*/ 2424112 h 2424112"/>
              <a:gd name="connsiteX0" fmla="*/ 1670935 w 1670935"/>
              <a:gd name="connsiteY0" fmla="*/ 0 h 2068075"/>
              <a:gd name="connsiteX1" fmla="*/ 314325 w 1670935"/>
              <a:gd name="connsiteY1" fmla="*/ 1358463 h 2068075"/>
              <a:gd name="connsiteX2" fmla="*/ 314325 w 1670935"/>
              <a:gd name="connsiteY2" fmla="*/ 1520388 h 2068075"/>
              <a:gd name="connsiteX3" fmla="*/ 233362 w 1670935"/>
              <a:gd name="connsiteY3" fmla="*/ 1601351 h 2068075"/>
              <a:gd name="connsiteX4" fmla="*/ 233362 w 1670935"/>
              <a:gd name="connsiteY4" fmla="*/ 1834713 h 2068075"/>
              <a:gd name="connsiteX5" fmla="*/ 0 w 1670935"/>
              <a:gd name="connsiteY5" fmla="*/ 2068075 h 2068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70935" h="2068075">
                <a:moveTo>
                  <a:pt x="1670935" y="0"/>
                </a:moveTo>
                <a:lnTo>
                  <a:pt x="314325" y="1358463"/>
                </a:lnTo>
                <a:lnTo>
                  <a:pt x="314325" y="1520388"/>
                </a:lnTo>
                <a:lnTo>
                  <a:pt x="233362" y="1601351"/>
                </a:lnTo>
                <a:lnTo>
                  <a:pt x="233362" y="1834713"/>
                </a:lnTo>
                <a:lnTo>
                  <a:pt x="0" y="2068075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2" name="Freeform 471"/>
          <p:cNvSpPr/>
          <p:nvPr/>
        </p:nvSpPr>
        <p:spPr>
          <a:xfrm>
            <a:off x="9459682" y="1450717"/>
            <a:ext cx="2977530" cy="2574374"/>
          </a:xfrm>
          <a:custGeom>
            <a:avLst/>
            <a:gdLst>
              <a:gd name="connsiteX0" fmla="*/ 2919412 w 2919412"/>
              <a:gd name="connsiteY0" fmla="*/ 0 h 2524125"/>
              <a:gd name="connsiteX1" fmla="*/ 1695449 w 2919412"/>
              <a:gd name="connsiteY1" fmla="*/ 1223963 h 2524125"/>
              <a:gd name="connsiteX2" fmla="*/ 1695449 w 2919412"/>
              <a:gd name="connsiteY2" fmla="*/ 1371600 h 2524125"/>
              <a:gd name="connsiteX3" fmla="*/ 1285874 w 2919412"/>
              <a:gd name="connsiteY3" fmla="*/ 1781175 h 2524125"/>
              <a:gd name="connsiteX4" fmla="*/ 1176337 w 2919412"/>
              <a:gd name="connsiteY4" fmla="*/ 1781175 h 2524125"/>
              <a:gd name="connsiteX5" fmla="*/ 1028700 w 2919412"/>
              <a:gd name="connsiteY5" fmla="*/ 1633538 h 2524125"/>
              <a:gd name="connsiteX6" fmla="*/ 976312 w 2919412"/>
              <a:gd name="connsiteY6" fmla="*/ 1633538 h 2524125"/>
              <a:gd name="connsiteX7" fmla="*/ 885825 w 2919412"/>
              <a:gd name="connsiteY7" fmla="*/ 1724025 h 2524125"/>
              <a:gd name="connsiteX8" fmla="*/ 885825 w 2919412"/>
              <a:gd name="connsiteY8" fmla="*/ 1833563 h 2524125"/>
              <a:gd name="connsiteX9" fmla="*/ 514350 w 2919412"/>
              <a:gd name="connsiteY9" fmla="*/ 2205038 h 2524125"/>
              <a:gd name="connsiteX10" fmla="*/ 376237 w 2919412"/>
              <a:gd name="connsiteY10" fmla="*/ 2205038 h 2524125"/>
              <a:gd name="connsiteX11" fmla="*/ 314325 w 2919412"/>
              <a:gd name="connsiteY11" fmla="*/ 2266950 h 2524125"/>
              <a:gd name="connsiteX12" fmla="*/ 109537 w 2919412"/>
              <a:gd name="connsiteY12" fmla="*/ 2266950 h 2524125"/>
              <a:gd name="connsiteX13" fmla="*/ 0 w 2919412"/>
              <a:gd name="connsiteY13" fmla="*/ 2376487 h 2524125"/>
              <a:gd name="connsiteX14" fmla="*/ 0 w 2919412"/>
              <a:gd name="connsiteY14" fmla="*/ 2524125 h 2524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9412" h="2524125">
                <a:moveTo>
                  <a:pt x="2919412" y="0"/>
                </a:moveTo>
                <a:lnTo>
                  <a:pt x="1695449" y="1223963"/>
                </a:lnTo>
                <a:lnTo>
                  <a:pt x="1695449" y="1371600"/>
                </a:lnTo>
                <a:lnTo>
                  <a:pt x="1285874" y="1781175"/>
                </a:lnTo>
                <a:lnTo>
                  <a:pt x="1176337" y="1781175"/>
                </a:lnTo>
                <a:lnTo>
                  <a:pt x="1028700" y="1633538"/>
                </a:lnTo>
                <a:lnTo>
                  <a:pt x="976312" y="1633538"/>
                </a:lnTo>
                <a:lnTo>
                  <a:pt x="885825" y="1724025"/>
                </a:lnTo>
                <a:lnTo>
                  <a:pt x="885825" y="1833563"/>
                </a:lnTo>
                <a:lnTo>
                  <a:pt x="514350" y="2205038"/>
                </a:lnTo>
                <a:lnTo>
                  <a:pt x="376237" y="2205038"/>
                </a:lnTo>
                <a:lnTo>
                  <a:pt x="314325" y="2266950"/>
                </a:lnTo>
                <a:lnTo>
                  <a:pt x="109537" y="2266950"/>
                </a:lnTo>
                <a:lnTo>
                  <a:pt x="0" y="2376487"/>
                </a:lnTo>
                <a:lnTo>
                  <a:pt x="0" y="2524125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4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7" name="Freeform 476"/>
          <p:cNvSpPr/>
          <p:nvPr/>
        </p:nvSpPr>
        <p:spPr>
          <a:xfrm>
            <a:off x="9624832" y="2436752"/>
            <a:ext cx="2812381" cy="1627198"/>
          </a:xfrm>
          <a:custGeom>
            <a:avLst/>
            <a:gdLst>
              <a:gd name="connsiteX0" fmla="*/ 2757487 w 2757487"/>
              <a:gd name="connsiteY0" fmla="*/ 0 h 1595437"/>
              <a:gd name="connsiteX1" fmla="*/ 2400300 w 2757487"/>
              <a:gd name="connsiteY1" fmla="*/ 357187 h 1595437"/>
              <a:gd name="connsiteX2" fmla="*/ 2400300 w 2757487"/>
              <a:gd name="connsiteY2" fmla="*/ 576262 h 1595437"/>
              <a:gd name="connsiteX3" fmla="*/ 2128837 w 2757487"/>
              <a:gd name="connsiteY3" fmla="*/ 847725 h 1595437"/>
              <a:gd name="connsiteX4" fmla="*/ 1614487 w 2757487"/>
              <a:gd name="connsiteY4" fmla="*/ 847725 h 1595437"/>
              <a:gd name="connsiteX5" fmla="*/ 976312 w 2757487"/>
              <a:gd name="connsiteY5" fmla="*/ 1485900 h 1595437"/>
              <a:gd name="connsiteX6" fmla="*/ 781050 w 2757487"/>
              <a:gd name="connsiteY6" fmla="*/ 1485900 h 1595437"/>
              <a:gd name="connsiteX7" fmla="*/ 723900 w 2757487"/>
              <a:gd name="connsiteY7" fmla="*/ 1428750 h 1595437"/>
              <a:gd name="connsiteX8" fmla="*/ 481012 w 2757487"/>
              <a:gd name="connsiteY8" fmla="*/ 1428750 h 1595437"/>
              <a:gd name="connsiteX9" fmla="*/ 419100 w 2757487"/>
              <a:gd name="connsiteY9" fmla="*/ 1366838 h 1595437"/>
              <a:gd name="connsiteX10" fmla="*/ 300037 w 2757487"/>
              <a:gd name="connsiteY10" fmla="*/ 1366838 h 1595437"/>
              <a:gd name="connsiteX11" fmla="*/ 161925 w 2757487"/>
              <a:gd name="connsiteY11" fmla="*/ 1504950 h 1595437"/>
              <a:gd name="connsiteX12" fmla="*/ 90487 w 2757487"/>
              <a:gd name="connsiteY12" fmla="*/ 1504950 h 1595437"/>
              <a:gd name="connsiteX13" fmla="*/ 0 w 2757487"/>
              <a:gd name="connsiteY13" fmla="*/ 1595437 h 1595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57487" h="1595437">
                <a:moveTo>
                  <a:pt x="2757487" y="0"/>
                </a:moveTo>
                <a:lnTo>
                  <a:pt x="2400300" y="357187"/>
                </a:lnTo>
                <a:lnTo>
                  <a:pt x="2400300" y="576262"/>
                </a:lnTo>
                <a:lnTo>
                  <a:pt x="2128837" y="847725"/>
                </a:lnTo>
                <a:lnTo>
                  <a:pt x="1614487" y="847725"/>
                </a:lnTo>
                <a:lnTo>
                  <a:pt x="976312" y="1485900"/>
                </a:lnTo>
                <a:lnTo>
                  <a:pt x="781050" y="1485900"/>
                </a:lnTo>
                <a:lnTo>
                  <a:pt x="723900" y="1428750"/>
                </a:lnTo>
                <a:lnTo>
                  <a:pt x="481012" y="1428750"/>
                </a:lnTo>
                <a:lnTo>
                  <a:pt x="419100" y="1366838"/>
                </a:lnTo>
                <a:lnTo>
                  <a:pt x="300037" y="1366838"/>
                </a:lnTo>
                <a:lnTo>
                  <a:pt x="161925" y="1504950"/>
                </a:lnTo>
                <a:lnTo>
                  <a:pt x="90487" y="1504950"/>
                </a:lnTo>
                <a:lnTo>
                  <a:pt x="0" y="1595437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4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8" name="Freeform 477"/>
          <p:cNvSpPr/>
          <p:nvPr/>
        </p:nvSpPr>
        <p:spPr>
          <a:xfrm>
            <a:off x="9853125" y="2519325"/>
            <a:ext cx="2574374" cy="1714631"/>
          </a:xfrm>
          <a:custGeom>
            <a:avLst/>
            <a:gdLst>
              <a:gd name="connsiteX0" fmla="*/ 2524125 w 2524125"/>
              <a:gd name="connsiteY0" fmla="*/ 0 h 1681163"/>
              <a:gd name="connsiteX1" fmla="*/ 2243138 w 2524125"/>
              <a:gd name="connsiteY1" fmla="*/ 280987 h 1681163"/>
              <a:gd name="connsiteX2" fmla="*/ 2243138 w 2524125"/>
              <a:gd name="connsiteY2" fmla="*/ 509588 h 1681163"/>
              <a:gd name="connsiteX3" fmla="*/ 1947863 w 2524125"/>
              <a:gd name="connsiteY3" fmla="*/ 804863 h 1681163"/>
              <a:gd name="connsiteX4" fmla="*/ 1447800 w 2524125"/>
              <a:gd name="connsiteY4" fmla="*/ 804863 h 1681163"/>
              <a:gd name="connsiteX5" fmla="*/ 790575 w 2524125"/>
              <a:gd name="connsiteY5" fmla="*/ 1462088 h 1681163"/>
              <a:gd name="connsiteX6" fmla="*/ 528638 w 2524125"/>
              <a:gd name="connsiteY6" fmla="*/ 1462088 h 1681163"/>
              <a:gd name="connsiteX7" fmla="*/ 471488 w 2524125"/>
              <a:gd name="connsiteY7" fmla="*/ 1404938 h 1681163"/>
              <a:gd name="connsiteX8" fmla="*/ 266700 w 2524125"/>
              <a:gd name="connsiteY8" fmla="*/ 1404938 h 1681163"/>
              <a:gd name="connsiteX9" fmla="*/ 190500 w 2524125"/>
              <a:gd name="connsiteY9" fmla="*/ 1328738 h 1681163"/>
              <a:gd name="connsiteX10" fmla="*/ 104775 w 2524125"/>
              <a:gd name="connsiteY10" fmla="*/ 1328738 h 1681163"/>
              <a:gd name="connsiteX11" fmla="*/ 0 w 2524125"/>
              <a:gd name="connsiteY11" fmla="*/ 1433513 h 1681163"/>
              <a:gd name="connsiteX12" fmla="*/ 0 w 2524125"/>
              <a:gd name="connsiteY12" fmla="*/ 1681163 h 1681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24125" h="1681163">
                <a:moveTo>
                  <a:pt x="2524125" y="0"/>
                </a:moveTo>
                <a:lnTo>
                  <a:pt x="2243138" y="280987"/>
                </a:lnTo>
                <a:lnTo>
                  <a:pt x="2243138" y="509588"/>
                </a:lnTo>
                <a:lnTo>
                  <a:pt x="1947863" y="804863"/>
                </a:lnTo>
                <a:lnTo>
                  <a:pt x="1447800" y="804863"/>
                </a:lnTo>
                <a:lnTo>
                  <a:pt x="790575" y="1462088"/>
                </a:lnTo>
                <a:lnTo>
                  <a:pt x="528638" y="1462088"/>
                </a:lnTo>
                <a:lnTo>
                  <a:pt x="471488" y="1404938"/>
                </a:lnTo>
                <a:lnTo>
                  <a:pt x="266700" y="1404938"/>
                </a:lnTo>
                <a:lnTo>
                  <a:pt x="190500" y="1328738"/>
                </a:lnTo>
                <a:lnTo>
                  <a:pt x="104775" y="1328738"/>
                </a:lnTo>
                <a:lnTo>
                  <a:pt x="0" y="1433513"/>
                </a:lnTo>
                <a:lnTo>
                  <a:pt x="0" y="1681163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4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75" name="Freeform 674"/>
          <p:cNvSpPr/>
          <p:nvPr/>
        </p:nvSpPr>
        <p:spPr>
          <a:xfrm>
            <a:off x="9930842" y="3325637"/>
            <a:ext cx="2511229" cy="1612627"/>
          </a:xfrm>
          <a:custGeom>
            <a:avLst/>
            <a:gdLst>
              <a:gd name="connsiteX0" fmla="*/ 2462213 w 2462213"/>
              <a:gd name="connsiteY0" fmla="*/ 0 h 1581150"/>
              <a:gd name="connsiteX1" fmla="*/ 2219325 w 2462213"/>
              <a:gd name="connsiteY1" fmla="*/ 242888 h 1581150"/>
              <a:gd name="connsiteX2" fmla="*/ 2119313 w 2462213"/>
              <a:gd name="connsiteY2" fmla="*/ 242888 h 1581150"/>
              <a:gd name="connsiteX3" fmla="*/ 1909763 w 2462213"/>
              <a:gd name="connsiteY3" fmla="*/ 452438 h 1581150"/>
              <a:gd name="connsiteX4" fmla="*/ 1762125 w 2462213"/>
              <a:gd name="connsiteY4" fmla="*/ 452438 h 1581150"/>
              <a:gd name="connsiteX5" fmla="*/ 1428750 w 2462213"/>
              <a:gd name="connsiteY5" fmla="*/ 785813 h 1581150"/>
              <a:gd name="connsiteX6" fmla="*/ 1066800 w 2462213"/>
              <a:gd name="connsiteY6" fmla="*/ 785813 h 1581150"/>
              <a:gd name="connsiteX7" fmla="*/ 719138 w 2462213"/>
              <a:gd name="connsiteY7" fmla="*/ 1133475 h 1581150"/>
              <a:gd name="connsiteX8" fmla="*/ 342900 w 2462213"/>
              <a:gd name="connsiteY8" fmla="*/ 1133475 h 1581150"/>
              <a:gd name="connsiteX9" fmla="*/ 9525 w 2462213"/>
              <a:gd name="connsiteY9" fmla="*/ 1466850 h 1581150"/>
              <a:gd name="connsiteX10" fmla="*/ 0 w 2462213"/>
              <a:gd name="connsiteY10" fmla="*/ 1581150 h 158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62213" h="1581150">
                <a:moveTo>
                  <a:pt x="2462213" y="0"/>
                </a:moveTo>
                <a:lnTo>
                  <a:pt x="2219325" y="242888"/>
                </a:lnTo>
                <a:lnTo>
                  <a:pt x="2119313" y="242888"/>
                </a:lnTo>
                <a:lnTo>
                  <a:pt x="1909763" y="452438"/>
                </a:lnTo>
                <a:lnTo>
                  <a:pt x="1762125" y="452438"/>
                </a:lnTo>
                <a:lnTo>
                  <a:pt x="1428750" y="785813"/>
                </a:lnTo>
                <a:lnTo>
                  <a:pt x="1066800" y="785813"/>
                </a:lnTo>
                <a:lnTo>
                  <a:pt x="719138" y="1133475"/>
                </a:lnTo>
                <a:lnTo>
                  <a:pt x="342900" y="1133475"/>
                </a:lnTo>
                <a:lnTo>
                  <a:pt x="9525" y="1466850"/>
                </a:lnTo>
                <a:lnTo>
                  <a:pt x="0" y="158115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76" name="Freeform 675"/>
          <p:cNvSpPr/>
          <p:nvPr/>
        </p:nvSpPr>
        <p:spPr>
          <a:xfrm>
            <a:off x="8732704" y="3918229"/>
            <a:ext cx="3717461" cy="2681235"/>
          </a:xfrm>
          <a:custGeom>
            <a:avLst/>
            <a:gdLst>
              <a:gd name="connsiteX0" fmla="*/ 3644900 w 3644900"/>
              <a:gd name="connsiteY0" fmla="*/ 0 h 2628900"/>
              <a:gd name="connsiteX1" fmla="*/ 3403600 w 3644900"/>
              <a:gd name="connsiteY1" fmla="*/ 0 h 2628900"/>
              <a:gd name="connsiteX2" fmla="*/ 3136900 w 3644900"/>
              <a:gd name="connsiteY2" fmla="*/ 266700 h 2628900"/>
              <a:gd name="connsiteX3" fmla="*/ 2882900 w 3644900"/>
              <a:gd name="connsiteY3" fmla="*/ 266700 h 2628900"/>
              <a:gd name="connsiteX4" fmla="*/ 2432050 w 3644900"/>
              <a:gd name="connsiteY4" fmla="*/ 717550 h 2628900"/>
              <a:gd name="connsiteX5" fmla="*/ 1854200 w 3644900"/>
              <a:gd name="connsiteY5" fmla="*/ 717550 h 2628900"/>
              <a:gd name="connsiteX6" fmla="*/ 1530350 w 3644900"/>
              <a:gd name="connsiteY6" fmla="*/ 1041400 h 2628900"/>
              <a:gd name="connsiteX7" fmla="*/ 1435100 w 3644900"/>
              <a:gd name="connsiteY7" fmla="*/ 1041400 h 2628900"/>
              <a:gd name="connsiteX8" fmla="*/ 863600 w 3644900"/>
              <a:gd name="connsiteY8" fmla="*/ 1612900 h 2628900"/>
              <a:gd name="connsiteX9" fmla="*/ 863600 w 3644900"/>
              <a:gd name="connsiteY9" fmla="*/ 1835150 h 2628900"/>
              <a:gd name="connsiteX10" fmla="*/ 793750 w 3644900"/>
              <a:gd name="connsiteY10" fmla="*/ 1835150 h 2628900"/>
              <a:gd name="connsiteX11" fmla="*/ 0 w 3644900"/>
              <a:gd name="connsiteY11" fmla="*/ 262890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44900" h="2628900">
                <a:moveTo>
                  <a:pt x="3644900" y="0"/>
                </a:moveTo>
                <a:lnTo>
                  <a:pt x="3403600" y="0"/>
                </a:lnTo>
                <a:lnTo>
                  <a:pt x="3136900" y="266700"/>
                </a:lnTo>
                <a:lnTo>
                  <a:pt x="2882900" y="266700"/>
                </a:lnTo>
                <a:lnTo>
                  <a:pt x="2432050" y="717550"/>
                </a:lnTo>
                <a:lnTo>
                  <a:pt x="1854200" y="717550"/>
                </a:lnTo>
                <a:lnTo>
                  <a:pt x="1530350" y="1041400"/>
                </a:lnTo>
                <a:lnTo>
                  <a:pt x="1435100" y="1041400"/>
                </a:lnTo>
                <a:lnTo>
                  <a:pt x="863600" y="1612900"/>
                </a:lnTo>
                <a:lnTo>
                  <a:pt x="863600" y="1835150"/>
                </a:lnTo>
                <a:lnTo>
                  <a:pt x="793750" y="1835150"/>
                </a:lnTo>
                <a:lnTo>
                  <a:pt x="0" y="26289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77" name="Freeform 676"/>
          <p:cNvSpPr/>
          <p:nvPr/>
        </p:nvSpPr>
        <p:spPr>
          <a:xfrm>
            <a:off x="8654988" y="3982993"/>
            <a:ext cx="3788701" cy="2836668"/>
          </a:xfrm>
          <a:custGeom>
            <a:avLst/>
            <a:gdLst>
              <a:gd name="connsiteX0" fmla="*/ 3714750 w 3714750"/>
              <a:gd name="connsiteY0" fmla="*/ 0 h 2781300"/>
              <a:gd name="connsiteX1" fmla="*/ 3511550 w 3714750"/>
              <a:gd name="connsiteY1" fmla="*/ 0 h 2781300"/>
              <a:gd name="connsiteX2" fmla="*/ 3219450 w 3714750"/>
              <a:gd name="connsiteY2" fmla="*/ 292100 h 2781300"/>
              <a:gd name="connsiteX3" fmla="*/ 2965450 w 3714750"/>
              <a:gd name="connsiteY3" fmla="*/ 292100 h 2781300"/>
              <a:gd name="connsiteX4" fmla="*/ 2520950 w 3714750"/>
              <a:gd name="connsiteY4" fmla="*/ 736600 h 2781300"/>
              <a:gd name="connsiteX5" fmla="*/ 1949450 w 3714750"/>
              <a:gd name="connsiteY5" fmla="*/ 736600 h 2781300"/>
              <a:gd name="connsiteX6" fmla="*/ 1612900 w 3714750"/>
              <a:gd name="connsiteY6" fmla="*/ 1073150 h 2781300"/>
              <a:gd name="connsiteX7" fmla="*/ 1517650 w 3714750"/>
              <a:gd name="connsiteY7" fmla="*/ 1073150 h 2781300"/>
              <a:gd name="connsiteX8" fmla="*/ 1041400 w 3714750"/>
              <a:gd name="connsiteY8" fmla="*/ 1549400 h 2781300"/>
              <a:gd name="connsiteX9" fmla="*/ 1041400 w 3714750"/>
              <a:gd name="connsiteY9" fmla="*/ 1879600 h 2781300"/>
              <a:gd name="connsiteX10" fmla="*/ 901700 w 3714750"/>
              <a:gd name="connsiteY10" fmla="*/ 1879600 h 2781300"/>
              <a:gd name="connsiteX11" fmla="*/ 0 w 3714750"/>
              <a:gd name="connsiteY11" fmla="*/ 2781300 h 278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714750" h="2781300">
                <a:moveTo>
                  <a:pt x="3714750" y="0"/>
                </a:moveTo>
                <a:lnTo>
                  <a:pt x="3511550" y="0"/>
                </a:lnTo>
                <a:lnTo>
                  <a:pt x="3219450" y="292100"/>
                </a:lnTo>
                <a:lnTo>
                  <a:pt x="2965450" y="292100"/>
                </a:lnTo>
                <a:lnTo>
                  <a:pt x="2520950" y="736600"/>
                </a:lnTo>
                <a:lnTo>
                  <a:pt x="1949450" y="736600"/>
                </a:lnTo>
                <a:lnTo>
                  <a:pt x="1612900" y="1073150"/>
                </a:lnTo>
                <a:lnTo>
                  <a:pt x="1517650" y="1073150"/>
                </a:lnTo>
                <a:lnTo>
                  <a:pt x="1041400" y="1549400"/>
                </a:lnTo>
                <a:lnTo>
                  <a:pt x="1041400" y="1879600"/>
                </a:lnTo>
                <a:lnTo>
                  <a:pt x="901700" y="1879600"/>
                </a:lnTo>
                <a:lnTo>
                  <a:pt x="0" y="27813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78" name="Group 677"/>
          <p:cNvGrpSpPr/>
          <p:nvPr/>
        </p:nvGrpSpPr>
        <p:grpSpPr>
          <a:xfrm flipV="1">
            <a:off x="5246865" y="12952"/>
            <a:ext cx="2959720" cy="2260268"/>
            <a:chOff x="9017000" y="4648200"/>
            <a:chExt cx="2901950" cy="2216150"/>
          </a:xfrm>
        </p:grpSpPr>
        <p:sp>
          <p:nvSpPr>
            <p:cNvPr id="822" name="Freeform 821"/>
            <p:cNvSpPr/>
            <p:nvPr/>
          </p:nvSpPr>
          <p:spPr>
            <a:xfrm>
              <a:off x="9017000" y="5346700"/>
              <a:ext cx="1568450" cy="1511300"/>
            </a:xfrm>
            <a:custGeom>
              <a:avLst/>
              <a:gdLst>
                <a:gd name="connsiteX0" fmla="*/ 0 w 1568450"/>
                <a:gd name="connsiteY0" fmla="*/ 1511300 h 1511300"/>
                <a:gd name="connsiteX1" fmla="*/ 781050 w 1568450"/>
                <a:gd name="connsiteY1" fmla="*/ 730250 h 1511300"/>
                <a:gd name="connsiteX2" fmla="*/ 781050 w 1568450"/>
                <a:gd name="connsiteY2" fmla="*/ 539750 h 1511300"/>
                <a:gd name="connsiteX3" fmla="*/ 1250950 w 1568450"/>
                <a:gd name="connsiteY3" fmla="*/ 69850 h 1511300"/>
                <a:gd name="connsiteX4" fmla="*/ 1409700 w 1568450"/>
                <a:gd name="connsiteY4" fmla="*/ 69850 h 1511300"/>
                <a:gd name="connsiteX5" fmla="*/ 1479550 w 1568450"/>
                <a:gd name="connsiteY5" fmla="*/ 0 h 1511300"/>
                <a:gd name="connsiteX6" fmla="*/ 1568450 w 1568450"/>
                <a:gd name="connsiteY6" fmla="*/ 0 h 151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8450" h="1511300">
                  <a:moveTo>
                    <a:pt x="0" y="1511300"/>
                  </a:moveTo>
                  <a:lnTo>
                    <a:pt x="781050" y="730250"/>
                  </a:lnTo>
                  <a:lnTo>
                    <a:pt x="781050" y="539750"/>
                  </a:lnTo>
                  <a:lnTo>
                    <a:pt x="1250950" y="69850"/>
                  </a:lnTo>
                  <a:lnTo>
                    <a:pt x="1409700" y="69850"/>
                  </a:lnTo>
                  <a:lnTo>
                    <a:pt x="1479550" y="0"/>
                  </a:lnTo>
                  <a:lnTo>
                    <a:pt x="156845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097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4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822"/>
            <p:cNvSpPr/>
            <p:nvPr/>
          </p:nvSpPr>
          <p:spPr>
            <a:xfrm>
              <a:off x="9118600" y="5511800"/>
              <a:ext cx="1390650" cy="1352550"/>
            </a:xfrm>
            <a:custGeom>
              <a:avLst/>
              <a:gdLst>
                <a:gd name="connsiteX0" fmla="*/ 0 w 1390650"/>
                <a:gd name="connsiteY0" fmla="*/ 1352550 h 1352550"/>
                <a:gd name="connsiteX1" fmla="*/ 850900 w 1390650"/>
                <a:gd name="connsiteY1" fmla="*/ 501650 h 1352550"/>
                <a:gd name="connsiteX2" fmla="*/ 908050 w 1390650"/>
                <a:gd name="connsiteY2" fmla="*/ 501650 h 1352550"/>
                <a:gd name="connsiteX3" fmla="*/ 958850 w 1390650"/>
                <a:gd name="connsiteY3" fmla="*/ 450850 h 1352550"/>
                <a:gd name="connsiteX4" fmla="*/ 958850 w 1390650"/>
                <a:gd name="connsiteY4" fmla="*/ 190500 h 1352550"/>
                <a:gd name="connsiteX5" fmla="*/ 1149350 w 1390650"/>
                <a:gd name="connsiteY5" fmla="*/ 0 h 1352550"/>
                <a:gd name="connsiteX6" fmla="*/ 1339850 w 1390650"/>
                <a:gd name="connsiteY6" fmla="*/ 0 h 1352550"/>
                <a:gd name="connsiteX7" fmla="*/ 1390650 w 1390650"/>
                <a:gd name="connsiteY7" fmla="*/ 50800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0650" h="1352550">
                  <a:moveTo>
                    <a:pt x="0" y="1352550"/>
                  </a:moveTo>
                  <a:lnTo>
                    <a:pt x="850900" y="501650"/>
                  </a:lnTo>
                  <a:lnTo>
                    <a:pt x="908050" y="501650"/>
                  </a:lnTo>
                  <a:lnTo>
                    <a:pt x="958850" y="450850"/>
                  </a:lnTo>
                  <a:lnTo>
                    <a:pt x="958850" y="190500"/>
                  </a:lnTo>
                  <a:lnTo>
                    <a:pt x="1149350" y="0"/>
                  </a:lnTo>
                  <a:lnTo>
                    <a:pt x="1339850" y="0"/>
                  </a:lnTo>
                  <a:lnTo>
                    <a:pt x="1390650" y="5080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097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4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823"/>
            <p:cNvSpPr/>
            <p:nvPr/>
          </p:nvSpPr>
          <p:spPr>
            <a:xfrm>
              <a:off x="9175750" y="5702300"/>
              <a:ext cx="1301750" cy="1155700"/>
            </a:xfrm>
            <a:custGeom>
              <a:avLst/>
              <a:gdLst>
                <a:gd name="connsiteX0" fmla="*/ 0 w 1301750"/>
                <a:gd name="connsiteY0" fmla="*/ 1155700 h 1155700"/>
                <a:gd name="connsiteX1" fmla="*/ 781050 w 1301750"/>
                <a:gd name="connsiteY1" fmla="*/ 374650 h 1155700"/>
                <a:gd name="connsiteX2" fmla="*/ 927100 w 1301750"/>
                <a:gd name="connsiteY2" fmla="*/ 374650 h 1155700"/>
                <a:gd name="connsiteX3" fmla="*/ 1301750 w 1301750"/>
                <a:gd name="connsiteY3" fmla="*/ 0 h 1155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1750" h="1155700">
                  <a:moveTo>
                    <a:pt x="0" y="1155700"/>
                  </a:moveTo>
                  <a:lnTo>
                    <a:pt x="781050" y="374650"/>
                  </a:lnTo>
                  <a:lnTo>
                    <a:pt x="927100" y="374650"/>
                  </a:lnTo>
                  <a:lnTo>
                    <a:pt x="130175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097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4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824"/>
            <p:cNvSpPr/>
            <p:nvPr/>
          </p:nvSpPr>
          <p:spPr>
            <a:xfrm>
              <a:off x="9232900" y="4648200"/>
              <a:ext cx="2508250" cy="2216150"/>
            </a:xfrm>
            <a:custGeom>
              <a:avLst/>
              <a:gdLst>
                <a:gd name="connsiteX0" fmla="*/ 0 w 2508250"/>
                <a:gd name="connsiteY0" fmla="*/ 2216150 h 2216150"/>
                <a:gd name="connsiteX1" fmla="*/ 704850 w 2508250"/>
                <a:gd name="connsiteY1" fmla="*/ 1511300 h 2216150"/>
                <a:gd name="connsiteX2" fmla="*/ 946150 w 2508250"/>
                <a:gd name="connsiteY2" fmla="*/ 1511300 h 2216150"/>
                <a:gd name="connsiteX3" fmla="*/ 1638300 w 2508250"/>
                <a:gd name="connsiteY3" fmla="*/ 819150 h 2216150"/>
                <a:gd name="connsiteX4" fmla="*/ 1638300 w 2508250"/>
                <a:gd name="connsiteY4" fmla="*/ 679450 h 2216150"/>
                <a:gd name="connsiteX5" fmla="*/ 1752600 w 2508250"/>
                <a:gd name="connsiteY5" fmla="*/ 565150 h 2216150"/>
                <a:gd name="connsiteX6" fmla="*/ 1943100 w 2508250"/>
                <a:gd name="connsiteY6" fmla="*/ 565150 h 2216150"/>
                <a:gd name="connsiteX7" fmla="*/ 2508250 w 2508250"/>
                <a:gd name="connsiteY7" fmla="*/ 0 h 2216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8250" h="2216150">
                  <a:moveTo>
                    <a:pt x="0" y="2216150"/>
                  </a:moveTo>
                  <a:lnTo>
                    <a:pt x="704850" y="1511300"/>
                  </a:lnTo>
                  <a:lnTo>
                    <a:pt x="946150" y="1511300"/>
                  </a:lnTo>
                  <a:lnTo>
                    <a:pt x="1638300" y="819150"/>
                  </a:lnTo>
                  <a:lnTo>
                    <a:pt x="1638300" y="679450"/>
                  </a:lnTo>
                  <a:lnTo>
                    <a:pt x="1752600" y="565150"/>
                  </a:lnTo>
                  <a:lnTo>
                    <a:pt x="1943100" y="565150"/>
                  </a:lnTo>
                  <a:lnTo>
                    <a:pt x="250825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097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4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825"/>
            <p:cNvSpPr/>
            <p:nvPr/>
          </p:nvSpPr>
          <p:spPr>
            <a:xfrm>
              <a:off x="9436100" y="5302250"/>
              <a:ext cx="1593850" cy="1562100"/>
            </a:xfrm>
            <a:custGeom>
              <a:avLst/>
              <a:gdLst>
                <a:gd name="connsiteX0" fmla="*/ 0 w 1593850"/>
                <a:gd name="connsiteY0" fmla="*/ 1562100 h 1562100"/>
                <a:gd name="connsiteX1" fmla="*/ 622300 w 1593850"/>
                <a:gd name="connsiteY1" fmla="*/ 939800 h 1562100"/>
                <a:gd name="connsiteX2" fmla="*/ 825500 w 1593850"/>
                <a:gd name="connsiteY2" fmla="*/ 939800 h 1562100"/>
                <a:gd name="connsiteX3" fmla="*/ 1593850 w 1593850"/>
                <a:gd name="connsiteY3" fmla="*/ 171450 h 1562100"/>
                <a:gd name="connsiteX4" fmla="*/ 1593850 w 1593850"/>
                <a:gd name="connsiteY4" fmla="*/ 0 h 156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850" h="1562100">
                  <a:moveTo>
                    <a:pt x="0" y="1562100"/>
                  </a:moveTo>
                  <a:lnTo>
                    <a:pt x="622300" y="939800"/>
                  </a:lnTo>
                  <a:lnTo>
                    <a:pt x="825500" y="939800"/>
                  </a:lnTo>
                  <a:lnTo>
                    <a:pt x="1593850" y="171450"/>
                  </a:lnTo>
                  <a:lnTo>
                    <a:pt x="159385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097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4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826"/>
            <p:cNvSpPr/>
            <p:nvPr/>
          </p:nvSpPr>
          <p:spPr>
            <a:xfrm>
              <a:off x="9874250" y="5638800"/>
              <a:ext cx="1365250" cy="1212850"/>
            </a:xfrm>
            <a:custGeom>
              <a:avLst/>
              <a:gdLst>
                <a:gd name="connsiteX0" fmla="*/ 0 w 1365250"/>
                <a:gd name="connsiteY0" fmla="*/ 1212850 h 1212850"/>
                <a:gd name="connsiteX1" fmla="*/ 730250 w 1365250"/>
                <a:gd name="connsiteY1" fmla="*/ 482600 h 1212850"/>
                <a:gd name="connsiteX2" fmla="*/ 863600 w 1365250"/>
                <a:gd name="connsiteY2" fmla="*/ 482600 h 1212850"/>
                <a:gd name="connsiteX3" fmla="*/ 927100 w 1365250"/>
                <a:gd name="connsiteY3" fmla="*/ 419100 h 1212850"/>
                <a:gd name="connsiteX4" fmla="*/ 927100 w 1365250"/>
                <a:gd name="connsiteY4" fmla="*/ 184150 h 1212850"/>
                <a:gd name="connsiteX5" fmla="*/ 1111250 w 1365250"/>
                <a:gd name="connsiteY5" fmla="*/ 0 h 1212850"/>
                <a:gd name="connsiteX6" fmla="*/ 1320800 w 1365250"/>
                <a:gd name="connsiteY6" fmla="*/ 0 h 1212850"/>
                <a:gd name="connsiteX7" fmla="*/ 1365250 w 1365250"/>
                <a:gd name="connsiteY7" fmla="*/ 444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5250" h="1212850">
                  <a:moveTo>
                    <a:pt x="0" y="1212850"/>
                  </a:moveTo>
                  <a:lnTo>
                    <a:pt x="730250" y="482600"/>
                  </a:lnTo>
                  <a:lnTo>
                    <a:pt x="863600" y="482600"/>
                  </a:lnTo>
                  <a:lnTo>
                    <a:pt x="927100" y="419100"/>
                  </a:lnTo>
                  <a:lnTo>
                    <a:pt x="927100" y="184150"/>
                  </a:lnTo>
                  <a:lnTo>
                    <a:pt x="1111250" y="0"/>
                  </a:lnTo>
                  <a:lnTo>
                    <a:pt x="1320800" y="0"/>
                  </a:lnTo>
                  <a:lnTo>
                    <a:pt x="1365250" y="4445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097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4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827"/>
            <p:cNvSpPr/>
            <p:nvPr/>
          </p:nvSpPr>
          <p:spPr>
            <a:xfrm>
              <a:off x="10001250" y="5219700"/>
              <a:ext cx="1460500" cy="1638300"/>
            </a:xfrm>
            <a:custGeom>
              <a:avLst/>
              <a:gdLst>
                <a:gd name="connsiteX0" fmla="*/ 0 w 1460500"/>
                <a:gd name="connsiteY0" fmla="*/ 1638300 h 1638300"/>
                <a:gd name="connsiteX1" fmla="*/ 641350 w 1460500"/>
                <a:gd name="connsiteY1" fmla="*/ 996950 h 1638300"/>
                <a:gd name="connsiteX2" fmla="*/ 857250 w 1460500"/>
                <a:gd name="connsiteY2" fmla="*/ 996950 h 1638300"/>
                <a:gd name="connsiteX3" fmla="*/ 1460500 w 1460500"/>
                <a:gd name="connsiteY3" fmla="*/ 393700 h 1638300"/>
                <a:gd name="connsiteX4" fmla="*/ 1460500 w 1460500"/>
                <a:gd name="connsiteY4" fmla="*/ 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0500" h="1638300">
                  <a:moveTo>
                    <a:pt x="0" y="1638300"/>
                  </a:moveTo>
                  <a:lnTo>
                    <a:pt x="641350" y="996950"/>
                  </a:lnTo>
                  <a:lnTo>
                    <a:pt x="857250" y="996950"/>
                  </a:lnTo>
                  <a:lnTo>
                    <a:pt x="1460500" y="393700"/>
                  </a:lnTo>
                  <a:lnTo>
                    <a:pt x="146050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097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4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828"/>
            <p:cNvSpPr/>
            <p:nvPr/>
          </p:nvSpPr>
          <p:spPr>
            <a:xfrm>
              <a:off x="10071100" y="4686300"/>
              <a:ext cx="1847850" cy="2178050"/>
            </a:xfrm>
            <a:custGeom>
              <a:avLst/>
              <a:gdLst>
                <a:gd name="connsiteX0" fmla="*/ 0 w 1847850"/>
                <a:gd name="connsiteY0" fmla="*/ 2178050 h 2178050"/>
                <a:gd name="connsiteX1" fmla="*/ 584200 w 1847850"/>
                <a:gd name="connsiteY1" fmla="*/ 1593850 h 2178050"/>
                <a:gd name="connsiteX2" fmla="*/ 838200 w 1847850"/>
                <a:gd name="connsiteY2" fmla="*/ 1593850 h 2178050"/>
                <a:gd name="connsiteX3" fmla="*/ 1479550 w 1847850"/>
                <a:gd name="connsiteY3" fmla="*/ 952500 h 2178050"/>
                <a:gd name="connsiteX4" fmla="*/ 1479550 w 1847850"/>
                <a:gd name="connsiteY4" fmla="*/ 698500 h 2178050"/>
                <a:gd name="connsiteX5" fmla="*/ 1847850 w 1847850"/>
                <a:gd name="connsiteY5" fmla="*/ 330200 h 2178050"/>
                <a:gd name="connsiteX6" fmla="*/ 1847850 w 1847850"/>
                <a:gd name="connsiteY6" fmla="*/ 0 h 2178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7850" h="2178050">
                  <a:moveTo>
                    <a:pt x="0" y="2178050"/>
                  </a:moveTo>
                  <a:lnTo>
                    <a:pt x="584200" y="1593850"/>
                  </a:lnTo>
                  <a:lnTo>
                    <a:pt x="838200" y="1593850"/>
                  </a:lnTo>
                  <a:lnTo>
                    <a:pt x="1479550" y="952500"/>
                  </a:lnTo>
                  <a:lnTo>
                    <a:pt x="1479550" y="698500"/>
                  </a:lnTo>
                  <a:lnTo>
                    <a:pt x="1847850" y="330200"/>
                  </a:lnTo>
                  <a:lnTo>
                    <a:pt x="184785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097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4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829"/>
            <p:cNvSpPr/>
            <p:nvPr/>
          </p:nvSpPr>
          <p:spPr>
            <a:xfrm>
              <a:off x="10166350" y="5422900"/>
              <a:ext cx="1536700" cy="1441450"/>
            </a:xfrm>
            <a:custGeom>
              <a:avLst/>
              <a:gdLst>
                <a:gd name="connsiteX0" fmla="*/ 0 w 1536700"/>
                <a:gd name="connsiteY0" fmla="*/ 1441450 h 1441450"/>
                <a:gd name="connsiteX1" fmla="*/ 508000 w 1536700"/>
                <a:gd name="connsiteY1" fmla="*/ 933450 h 1441450"/>
                <a:gd name="connsiteX2" fmla="*/ 793750 w 1536700"/>
                <a:gd name="connsiteY2" fmla="*/ 933450 h 1441450"/>
                <a:gd name="connsiteX3" fmla="*/ 1536700 w 1536700"/>
                <a:gd name="connsiteY3" fmla="*/ 190500 h 1441450"/>
                <a:gd name="connsiteX4" fmla="*/ 1536700 w 1536700"/>
                <a:gd name="connsiteY4" fmla="*/ 0 h 14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6700" h="1441450">
                  <a:moveTo>
                    <a:pt x="0" y="1441450"/>
                  </a:moveTo>
                  <a:lnTo>
                    <a:pt x="508000" y="933450"/>
                  </a:lnTo>
                  <a:lnTo>
                    <a:pt x="793750" y="933450"/>
                  </a:lnTo>
                  <a:lnTo>
                    <a:pt x="1536700" y="190500"/>
                  </a:lnTo>
                  <a:lnTo>
                    <a:pt x="153670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097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4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79" name="Freeform 678"/>
          <p:cNvSpPr/>
          <p:nvPr/>
        </p:nvSpPr>
        <p:spPr>
          <a:xfrm>
            <a:off x="10669152" y="4203191"/>
            <a:ext cx="1761584" cy="997367"/>
          </a:xfrm>
          <a:custGeom>
            <a:avLst/>
            <a:gdLst>
              <a:gd name="connsiteX0" fmla="*/ 1727200 w 1727200"/>
              <a:gd name="connsiteY0" fmla="*/ 0 h 977900"/>
              <a:gd name="connsiteX1" fmla="*/ 1562100 w 1727200"/>
              <a:gd name="connsiteY1" fmla="*/ 0 h 977900"/>
              <a:gd name="connsiteX2" fmla="*/ 812800 w 1727200"/>
              <a:gd name="connsiteY2" fmla="*/ 749300 h 977900"/>
              <a:gd name="connsiteX3" fmla="*/ 228600 w 1727200"/>
              <a:gd name="connsiteY3" fmla="*/ 749300 h 977900"/>
              <a:gd name="connsiteX4" fmla="*/ 0 w 1727200"/>
              <a:gd name="connsiteY4" fmla="*/ 977900 h 97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27200" h="977900">
                <a:moveTo>
                  <a:pt x="1727200" y="0"/>
                </a:moveTo>
                <a:lnTo>
                  <a:pt x="1562100" y="0"/>
                </a:lnTo>
                <a:lnTo>
                  <a:pt x="812800" y="749300"/>
                </a:lnTo>
                <a:lnTo>
                  <a:pt x="228600" y="749300"/>
                </a:lnTo>
                <a:lnTo>
                  <a:pt x="0" y="9779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1" name="Freeform 680"/>
          <p:cNvSpPr/>
          <p:nvPr/>
        </p:nvSpPr>
        <p:spPr>
          <a:xfrm>
            <a:off x="7579903" y="4358625"/>
            <a:ext cx="2648853" cy="2668282"/>
          </a:xfrm>
          <a:custGeom>
            <a:avLst/>
            <a:gdLst>
              <a:gd name="connsiteX0" fmla="*/ 0 w 2597150"/>
              <a:gd name="connsiteY0" fmla="*/ 2616200 h 2616200"/>
              <a:gd name="connsiteX1" fmla="*/ 1885950 w 2597150"/>
              <a:gd name="connsiteY1" fmla="*/ 730250 h 2616200"/>
              <a:gd name="connsiteX2" fmla="*/ 1924050 w 2597150"/>
              <a:gd name="connsiteY2" fmla="*/ 692150 h 2616200"/>
              <a:gd name="connsiteX3" fmla="*/ 2082800 w 2597150"/>
              <a:gd name="connsiteY3" fmla="*/ 533400 h 2616200"/>
              <a:gd name="connsiteX4" fmla="*/ 2082800 w 2597150"/>
              <a:gd name="connsiteY4" fmla="*/ 330200 h 2616200"/>
              <a:gd name="connsiteX5" fmla="*/ 2279650 w 2597150"/>
              <a:gd name="connsiteY5" fmla="*/ 133350 h 2616200"/>
              <a:gd name="connsiteX6" fmla="*/ 2463800 w 2597150"/>
              <a:gd name="connsiteY6" fmla="*/ 133350 h 2616200"/>
              <a:gd name="connsiteX7" fmla="*/ 2597150 w 2597150"/>
              <a:gd name="connsiteY7" fmla="*/ 0 h 261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7150" h="2616200">
                <a:moveTo>
                  <a:pt x="0" y="2616200"/>
                </a:moveTo>
                <a:lnTo>
                  <a:pt x="1885950" y="730250"/>
                </a:lnTo>
                <a:lnTo>
                  <a:pt x="1924050" y="692150"/>
                </a:lnTo>
                <a:lnTo>
                  <a:pt x="2082800" y="533400"/>
                </a:lnTo>
                <a:lnTo>
                  <a:pt x="2082800" y="330200"/>
                </a:lnTo>
                <a:lnTo>
                  <a:pt x="2279650" y="133350"/>
                </a:lnTo>
                <a:lnTo>
                  <a:pt x="2463800" y="133350"/>
                </a:lnTo>
                <a:lnTo>
                  <a:pt x="259715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2" name="Freeform 681"/>
          <p:cNvSpPr/>
          <p:nvPr/>
        </p:nvSpPr>
        <p:spPr>
          <a:xfrm>
            <a:off x="7145984" y="4481677"/>
            <a:ext cx="2597041" cy="2512848"/>
          </a:xfrm>
          <a:custGeom>
            <a:avLst/>
            <a:gdLst>
              <a:gd name="connsiteX0" fmla="*/ 0 w 2546350"/>
              <a:gd name="connsiteY0" fmla="*/ 2463800 h 2463800"/>
              <a:gd name="connsiteX1" fmla="*/ 1428750 w 2546350"/>
              <a:gd name="connsiteY1" fmla="*/ 1035050 h 2463800"/>
              <a:gd name="connsiteX2" fmla="*/ 1835150 w 2546350"/>
              <a:gd name="connsiteY2" fmla="*/ 1035050 h 2463800"/>
              <a:gd name="connsiteX3" fmla="*/ 2063750 w 2546350"/>
              <a:gd name="connsiteY3" fmla="*/ 806450 h 2463800"/>
              <a:gd name="connsiteX4" fmla="*/ 2063750 w 2546350"/>
              <a:gd name="connsiteY4" fmla="*/ 654050 h 2463800"/>
              <a:gd name="connsiteX5" fmla="*/ 2343150 w 2546350"/>
              <a:gd name="connsiteY5" fmla="*/ 374650 h 2463800"/>
              <a:gd name="connsiteX6" fmla="*/ 2343150 w 2546350"/>
              <a:gd name="connsiteY6" fmla="*/ 107950 h 2463800"/>
              <a:gd name="connsiteX7" fmla="*/ 2451100 w 2546350"/>
              <a:gd name="connsiteY7" fmla="*/ 0 h 2463800"/>
              <a:gd name="connsiteX8" fmla="*/ 2546350 w 2546350"/>
              <a:gd name="connsiteY8" fmla="*/ 0 h 2463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46350" h="2463800">
                <a:moveTo>
                  <a:pt x="0" y="2463800"/>
                </a:moveTo>
                <a:lnTo>
                  <a:pt x="1428750" y="1035050"/>
                </a:lnTo>
                <a:lnTo>
                  <a:pt x="1835150" y="1035050"/>
                </a:lnTo>
                <a:lnTo>
                  <a:pt x="2063750" y="806450"/>
                </a:lnTo>
                <a:lnTo>
                  <a:pt x="2063750" y="654050"/>
                </a:lnTo>
                <a:lnTo>
                  <a:pt x="2343150" y="374650"/>
                </a:lnTo>
                <a:lnTo>
                  <a:pt x="2343150" y="107950"/>
                </a:lnTo>
                <a:lnTo>
                  <a:pt x="2451100" y="0"/>
                </a:lnTo>
                <a:lnTo>
                  <a:pt x="254635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3" name="Freeform 682"/>
          <p:cNvSpPr/>
          <p:nvPr/>
        </p:nvSpPr>
        <p:spPr>
          <a:xfrm>
            <a:off x="7003502" y="4358625"/>
            <a:ext cx="3030961" cy="2648853"/>
          </a:xfrm>
          <a:custGeom>
            <a:avLst/>
            <a:gdLst>
              <a:gd name="connsiteX0" fmla="*/ 0 w 2971800"/>
              <a:gd name="connsiteY0" fmla="*/ 2597150 h 2597150"/>
              <a:gd name="connsiteX1" fmla="*/ 1485900 w 2971800"/>
              <a:gd name="connsiteY1" fmla="*/ 1111250 h 2597150"/>
              <a:gd name="connsiteX2" fmla="*/ 1930400 w 2971800"/>
              <a:gd name="connsiteY2" fmla="*/ 1111250 h 2597150"/>
              <a:gd name="connsiteX3" fmla="*/ 2127250 w 2971800"/>
              <a:gd name="connsiteY3" fmla="*/ 914400 h 2597150"/>
              <a:gd name="connsiteX4" fmla="*/ 2127250 w 2971800"/>
              <a:gd name="connsiteY4" fmla="*/ 711200 h 2597150"/>
              <a:gd name="connsiteX5" fmla="*/ 2374900 w 2971800"/>
              <a:gd name="connsiteY5" fmla="*/ 463550 h 2597150"/>
              <a:gd name="connsiteX6" fmla="*/ 2374900 w 2971800"/>
              <a:gd name="connsiteY6" fmla="*/ 0 h 2597150"/>
              <a:gd name="connsiteX7" fmla="*/ 2971800 w 2971800"/>
              <a:gd name="connsiteY7" fmla="*/ 0 h 259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71800" h="2597150">
                <a:moveTo>
                  <a:pt x="0" y="2597150"/>
                </a:moveTo>
                <a:lnTo>
                  <a:pt x="1485900" y="1111250"/>
                </a:lnTo>
                <a:lnTo>
                  <a:pt x="1930400" y="1111250"/>
                </a:lnTo>
                <a:lnTo>
                  <a:pt x="2127250" y="914400"/>
                </a:lnTo>
                <a:lnTo>
                  <a:pt x="2127250" y="711200"/>
                </a:lnTo>
                <a:lnTo>
                  <a:pt x="2374900" y="463550"/>
                </a:lnTo>
                <a:lnTo>
                  <a:pt x="2374900" y="0"/>
                </a:lnTo>
                <a:lnTo>
                  <a:pt x="297180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28" name="Freeform 727"/>
          <p:cNvSpPr/>
          <p:nvPr/>
        </p:nvSpPr>
        <p:spPr>
          <a:xfrm rot="8100000" flipH="1" flipV="1">
            <a:off x="5405404" y="3407143"/>
            <a:ext cx="2431569" cy="2317496"/>
          </a:xfrm>
          <a:custGeom>
            <a:avLst/>
            <a:gdLst>
              <a:gd name="connsiteX0" fmla="*/ 0 w 2571750"/>
              <a:gd name="connsiteY0" fmla="*/ 2451100 h 2451100"/>
              <a:gd name="connsiteX1" fmla="*/ 1670050 w 2571750"/>
              <a:gd name="connsiteY1" fmla="*/ 781050 h 2451100"/>
              <a:gd name="connsiteX2" fmla="*/ 2120900 w 2571750"/>
              <a:gd name="connsiteY2" fmla="*/ 781050 h 2451100"/>
              <a:gd name="connsiteX3" fmla="*/ 2324100 w 2571750"/>
              <a:gd name="connsiteY3" fmla="*/ 577850 h 2451100"/>
              <a:gd name="connsiteX4" fmla="*/ 2324100 w 2571750"/>
              <a:gd name="connsiteY4" fmla="*/ 438150 h 2451100"/>
              <a:gd name="connsiteX5" fmla="*/ 2571750 w 2571750"/>
              <a:gd name="connsiteY5" fmla="*/ 190500 h 2451100"/>
              <a:gd name="connsiteX6" fmla="*/ 2571750 w 2571750"/>
              <a:gd name="connsiteY6" fmla="*/ 0 h 245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71750" h="2451100">
                <a:moveTo>
                  <a:pt x="0" y="2451100"/>
                </a:moveTo>
                <a:lnTo>
                  <a:pt x="1670050" y="781050"/>
                </a:lnTo>
                <a:lnTo>
                  <a:pt x="2120900" y="781050"/>
                </a:lnTo>
                <a:lnTo>
                  <a:pt x="2324100" y="577850"/>
                </a:lnTo>
                <a:lnTo>
                  <a:pt x="2324100" y="438150"/>
                </a:lnTo>
                <a:lnTo>
                  <a:pt x="2571750" y="190500"/>
                </a:lnTo>
                <a:lnTo>
                  <a:pt x="257175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76" name="Freeform 775"/>
          <p:cNvSpPr/>
          <p:nvPr/>
        </p:nvSpPr>
        <p:spPr>
          <a:xfrm>
            <a:off x="2375552" y="2588279"/>
            <a:ext cx="2630106" cy="1320370"/>
          </a:xfrm>
          <a:custGeom>
            <a:avLst/>
            <a:gdLst>
              <a:gd name="connsiteX0" fmla="*/ 0 w 2685449"/>
              <a:gd name="connsiteY0" fmla="*/ 0 h 1751798"/>
              <a:gd name="connsiteX1" fmla="*/ 0 w 2685449"/>
              <a:gd name="connsiteY1" fmla="*/ 365760 h 1751798"/>
              <a:gd name="connsiteX2" fmla="*/ 413886 w 2685449"/>
              <a:gd name="connsiteY2" fmla="*/ 779646 h 1751798"/>
              <a:gd name="connsiteX3" fmla="*/ 1713297 w 2685449"/>
              <a:gd name="connsiteY3" fmla="*/ 779646 h 1751798"/>
              <a:gd name="connsiteX4" fmla="*/ 2685449 w 2685449"/>
              <a:gd name="connsiteY4" fmla="*/ 1751798 h 1751798"/>
              <a:gd name="connsiteX0" fmla="*/ 0 w 2685449"/>
              <a:gd name="connsiteY0" fmla="*/ 0 h 1386038"/>
              <a:gd name="connsiteX1" fmla="*/ 413886 w 2685449"/>
              <a:gd name="connsiteY1" fmla="*/ 413886 h 1386038"/>
              <a:gd name="connsiteX2" fmla="*/ 1713297 w 2685449"/>
              <a:gd name="connsiteY2" fmla="*/ 413886 h 1386038"/>
              <a:gd name="connsiteX3" fmla="*/ 2685449 w 2685449"/>
              <a:gd name="connsiteY3" fmla="*/ 1386038 h 1386038"/>
              <a:gd name="connsiteX0" fmla="*/ 0 w 2578769"/>
              <a:gd name="connsiteY0" fmla="*/ 0 h 1294598"/>
              <a:gd name="connsiteX1" fmla="*/ 307206 w 2578769"/>
              <a:gd name="connsiteY1" fmla="*/ 322446 h 1294598"/>
              <a:gd name="connsiteX2" fmla="*/ 1606617 w 2578769"/>
              <a:gd name="connsiteY2" fmla="*/ 322446 h 1294598"/>
              <a:gd name="connsiteX3" fmla="*/ 2578769 w 2578769"/>
              <a:gd name="connsiteY3" fmla="*/ 1294598 h 1294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78769" h="1294598">
                <a:moveTo>
                  <a:pt x="0" y="0"/>
                </a:moveTo>
                <a:lnTo>
                  <a:pt x="307206" y="322446"/>
                </a:lnTo>
                <a:lnTo>
                  <a:pt x="1606617" y="322446"/>
                </a:lnTo>
                <a:lnTo>
                  <a:pt x="2578769" y="1294598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77" name="Freeform 776"/>
          <p:cNvSpPr/>
          <p:nvPr/>
        </p:nvSpPr>
        <p:spPr>
          <a:xfrm>
            <a:off x="2457553" y="129528"/>
            <a:ext cx="3296002" cy="1414448"/>
          </a:xfrm>
          <a:custGeom>
            <a:avLst/>
            <a:gdLst>
              <a:gd name="connsiteX0" fmla="*/ 0 w 3596640"/>
              <a:gd name="connsiteY0" fmla="*/ 228600 h 1386840"/>
              <a:gd name="connsiteX1" fmla="*/ 0 w 3596640"/>
              <a:gd name="connsiteY1" fmla="*/ 0 h 1386840"/>
              <a:gd name="connsiteX2" fmla="*/ 2369820 w 3596640"/>
              <a:gd name="connsiteY2" fmla="*/ 0 h 1386840"/>
              <a:gd name="connsiteX3" fmla="*/ 2674620 w 3596640"/>
              <a:gd name="connsiteY3" fmla="*/ 304800 h 1386840"/>
              <a:gd name="connsiteX4" fmla="*/ 2674620 w 3596640"/>
              <a:gd name="connsiteY4" fmla="*/ 1295400 h 1386840"/>
              <a:gd name="connsiteX5" fmla="*/ 2766060 w 3596640"/>
              <a:gd name="connsiteY5" fmla="*/ 1386840 h 1386840"/>
              <a:gd name="connsiteX6" fmla="*/ 3596640 w 3596640"/>
              <a:gd name="connsiteY6" fmla="*/ 1386840 h 1386840"/>
              <a:gd name="connsiteX0" fmla="*/ 0 w 3596640"/>
              <a:gd name="connsiteY0" fmla="*/ 0 h 1386840"/>
              <a:gd name="connsiteX1" fmla="*/ 2369820 w 3596640"/>
              <a:gd name="connsiteY1" fmla="*/ 0 h 1386840"/>
              <a:gd name="connsiteX2" fmla="*/ 2674620 w 3596640"/>
              <a:gd name="connsiteY2" fmla="*/ 304800 h 1386840"/>
              <a:gd name="connsiteX3" fmla="*/ 2674620 w 3596640"/>
              <a:gd name="connsiteY3" fmla="*/ 1295400 h 1386840"/>
              <a:gd name="connsiteX4" fmla="*/ 2766060 w 3596640"/>
              <a:gd name="connsiteY4" fmla="*/ 1386840 h 1386840"/>
              <a:gd name="connsiteX5" fmla="*/ 3596640 w 3596640"/>
              <a:gd name="connsiteY5" fmla="*/ 1386840 h 1386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96640" h="1386840">
                <a:moveTo>
                  <a:pt x="0" y="0"/>
                </a:moveTo>
                <a:lnTo>
                  <a:pt x="2369820" y="0"/>
                </a:lnTo>
                <a:lnTo>
                  <a:pt x="2674620" y="304800"/>
                </a:lnTo>
                <a:lnTo>
                  <a:pt x="2674620" y="1295400"/>
                </a:lnTo>
                <a:lnTo>
                  <a:pt x="2766060" y="1386840"/>
                </a:lnTo>
                <a:lnTo>
                  <a:pt x="3596640" y="138684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0" name="Freeform 779"/>
          <p:cNvSpPr/>
          <p:nvPr/>
        </p:nvSpPr>
        <p:spPr>
          <a:xfrm>
            <a:off x="2474571" y="2223029"/>
            <a:ext cx="2560102" cy="349726"/>
          </a:xfrm>
          <a:custGeom>
            <a:avLst/>
            <a:gdLst>
              <a:gd name="connsiteX0" fmla="*/ 0 w 2686050"/>
              <a:gd name="connsiteY0" fmla="*/ 0 h 342900"/>
              <a:gd name="connsiteX1" fmla="*/ 1985963 w 2686050"/>
              <a:gd name="connsiteY1" fmla="*/ 0 h 342900"/>
              <a:gd name="connsiteX2" fmla="*/ 2114550 w 2686050"/>
              <a:gd name="connsiteY2" fmla="*/ 128587 h 342900"/>
              <a:gd name="connsiteX3" fmla="*/ 2309813 w 2686050"/>
              <a:gd name="connsiteY3" fmla="*/ 128587 h 342900"/>
              <a:gd name="connsiteX4" fmla="*/ 2419350 w 2686050"/>
              <a:gd name="connsiteY4" fmla="*/ 238124 h 342900"/>
              <a:gd name="connsiteX5" fmla="*/ 2686050 w 2686050"/>
              <a:gd name="connsiteY5" fmla="*/ 238124 h 342900"/>
              <a:gd name="connsiteX6" fmla="*/ 2686050 w 2686050"/>
              <a:gd name="connsiteY6" fmla="*/ 342900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6050" h="342900">
                <a:moveTo>
                  <a:pt x="0" y="0"/>
                </a:moveTo>
                <a:lnTo>
                  <a:pt x="1985963" y="0"/>
                </a:lnTo>
                <a:lnTo>
                  <a:pt x="2114550" y="128587"/>
                </a:lnTo>
                <a:lnTo>
                  <a:pt x="2309813" y="128587"/>
                </a:lnTo>
                <a:lnTo>
                  <a:pt x="2419350" y="238124"/>
                </a:lnTo>
                <a:lnTo>
                  <a:pt x="2686050" y="238124"/>
                </a:lnTo>
                <a:lnTo>
                  <a:pt x="2686050" y="3429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4" name="Freeform 783"/>
          <p:cNvSpPr/>
          <p:nvPr/>
        </p:nvSpPr>
        <p:spPr>
          <a:xfrm>
            <a:off x="6550359" y="2722411"/>
            <a:ext cx="2974513" cy="4299791"/>
          </a:xfrm>
          <a:custGeom>
            <a:avLst/>
            <a:gdLst>
              <a:gd name="connsiteX0" fmla="*/ 2916454 w 2916454"/>
              <a:gd name="connsiteY0" fmla="*/ 0 h 4215864"/>
              <a:gd name="connsiteX1" fmla="*/ 2916454 w 2916454"/>
              <a:gd name="connsiteY1" fmla="*/ 298383 h 4215864"/>
              <a:gd name="connsiteX2" fmla="*/ 2550694 w 2916454"/>
              <a:gd name="connsiteY2" fmla="*/ 664143 h 4215864"/>
              <a:gd name="connsiteX3" fmla="*/ 2550694 w 2916454"/>
              <a:gd name="connsiteY3" fmla="*/ 1973179 h 4215864"/>
              <a:gd name="connsiteX4" fmla="*/ 2358189 w 2916454"/>
              <a:gd name="connsiteY4" fmla="*/ 2165684 h 4215864"/>
              <a:gd name="connsiteX5" fmla="*/ 2358189 w 2916454"/>
              <a:gd name="connsiteY5" fmla="*/ 2319688 h 4215864"/>
              <a:gd name="connsiteX6" fmla="*/ 2127183 w 2916454"/>
              <a:gd name="connsiteY6" fmla="*/ 2550694 h 4215864"/>
              <a:gd name="connsiteX7" fmla="*/ 1665170 w 2916454"/>
              <a:gd name="connsiteY7" fmla="*/ 2550694 h 4215864"/>
              <a:gd name="connsiteX8" fmla="*/ 0 w 2916454"/>
              <a:gd name="connsiteY8" fmla="*/ 4215864 h 4215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6454" h="4215864">
                <a:moveTo>
                  <a:pt x="2916454" y="0"/>
                </a:moveTo>
                <a:lnTo>
                  <a:pt x="2916454" y="298383"/>
                </a:lnTo>
                <a:lnTo>
                  <a:pt x="2550694" y="664143"/>
                </a:lnTo>
                <a:lnTo>
                  <a:pt x="2550694" y="1973179"/>
                </a:lnTo>
                <a:lnTo>
                  <a:pt x="2358189" y="2165684"/>
                </a:lnTo>
                <a:lnTo>
                  <a:pt x="2358189" y="2319688"/>
                </a:lnTo>
                <a:lnTo>
                  <a:pt x="2127183" y="2550694"/>
                </a:lnTo>
                <a:lnTo>
                  <a:pt x="1665170" y="2550694"/>
                </a:lnTo>
                <a:lnTo>
                  <a:pt x="0" y="4215864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5" name="Freeform 784"/>
          <p:cNvSpPr/>
          <p:nvPr/>
        </p:nvSpPr>
        <p:spPr>
          <a:xfrm>
            <a:off x="8926042" y="2702778"/>
            <a:ext cx="137437" cy="2061544"/>
          </a:xfrm>
          <a:custGeom>
            <a:avLst/>
            <a:gdLst>
              <a:gd name="connsiteX0" fmla="*/ 134754 w 134754"/>
              <a:gd name="connsiteY0" fmla="*/ 0 h 2021305"/>
              <a:gd name="connsiteX1" fmla="*/ 134754 w 134754"/>
              <a:gd name="connsiteY1" fmla="*/ 567891 h 2021305"/>
              <a:gd name="connsiteX2" fmla="*/ 0 w 134754"/>
              <a:gd name="connsiteY2" fmla="*/ 702645 h 2021305"/>
              <a:gd name="connsiteX3" fmla="*/ 0 w 134754"/>
              <a:gd name="connsiteY3" fmla="*/ 2021305 h 2021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4754" h="2021305">
                <a:moveTo>
                  <a:pt x="134754" y="0"/>
                </a:moveTo>
                <a:lnTo>
                  <a:pt x="134754" y="567891"/>
                </a:lnTo>
                <a:lnTo>
                  <a:pt x="0" y="702645"/>
                </a:lnTo>
                <a:lnTo>
                  <a:pt x="0" y="2021305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2" name="Freeform 801"/>
          <p:cNvSpPr/>
          <p:nvPr/>
        </p:nvSpPr>
        <p:spPr>
          <a:xfrm>
            <a:off x="2309723" y="1300140"/>
            <a:ext cx="738311" cy="179720"/>
          </a:xfrm>
          <a:custGeom>
            <a:avLst/>
            <a:gdLst>
              <a:gd name="connsiteX0" fmla="*/ 0 w 723900"/>
              <a:gd name="connsiteY0" fmla="*/ 176212 h 176212"/>
              <a:gd name="connsiteX1" fmla="*/ 723900 w 723900"/>
              <a:gd name="connsiteY1" fmla="*/ 176212 h 176212"/>
              <a:gd name="connsiteX2" fmla="*/ 723900 w 723900"/>
              <a:gd name="connsiteY2" fmla="*/ 0 h 176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3900" h="176212">
                <a:moveTo>
                  <a:pt x="0" y="176212"/>
                </a:moveTo>
                <a:lnTo>
                  <a:pt x="723900" y="176212"/>
                </a:lnTo>
                <a:lnTo>
                  <a:pt x="72390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3" name="Freeform 802"/>
          <p:cNvSpPr/>
          <p:nvPr/>
        </p:nvSpPr>
        <p:spPr>
          <a:xfrm>
            <a:off x="2342992" y="1309855"/>
            <a:ext cx="956890" cy="218578"/>
          </a:xfrm>
          <a:custGeom>
            <a:avLst/>
            <a:gdLst>
              <a:gd name="connsiteX0" fmla="*/ 0 w 938213"/>
              <a:gd name="connsiteY0" fmla="*/ 214312 h 214312"/>
              <a:gd name="connsiteX1" fmla="*/ 938213 w 938213"/>
              <a:gd name="connsiteY1" fmla="*/ 214312 h 214312"/>
              <a:gd name="connsiteX2" fmla="*/ 938213 w 938213"/>
              <a:gd name="connsiteY2" fmla="*/ 0 h 21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8213" h="214312">
                <a:moveTo>
                  <a:pt x="0" y="214312"/>
                </a:moveTo>
                <a:lnTo>
                  <a:pt x="938213" y="214312"/>
                </a:lnTo>
                <a:lnTo>
                  <a:pt x="938213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4" name="Freeform 803"/>
          <p:cNvSpPr/>
          <p:nvPr/>
        </p:nvSpPr>
        <p:spPr>
          <a:xfrm>
            <a:off x="3470621" y="1134991"/>
            <a:ext cx="684881" cy="374012"/>
          </a:xfrm>
          <a:custGeom>
            <a:avLst/>
            <a:gdLst>
              <a:gd name="connsiteX0" fmla="*/ 671513 w 671513"/>
              <a:gd name="connsiteY0" fmla="*/ 0 h 366712"/>
              <a:gd name="connsiteX1" fmla="*/ 481013 w 671513"/>
              <a:gd name="connsiteY1" fmla="*/ 190500 h 366712"/>
              <a:gd name="connsiteX2" fmla="*/ 481013 w 671513"/>
              <a:gd name="connsiteY2" fmla="*/ 319087 h 366712"/>
              <a:gd name="connsiteX3" fmla="*/ 433388 w 671513"/>
              <a:gd name="connsiteY3" fmla="*/ 366712 h 366712"/>
              <a:gd name="connsiteX4" fmla="*/ 0 w 671513"/>
              <a:gd name="connsiteY4" fmla="*/ 366712 h 366712"/>
              <a:gd name="connsiteX5" fmla="*/ 0 w 671513"/>
              <a:gd name="connsiteY5" fmla="*/ 171450 h 366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1513" h="366712">
                <a:moveTo>
                  <a:pt x="671513" y="0"/>
                </a:moveTo>
                <a:lnTo>
                  <a:pt x="481013" y="190500"/>
                </a:lnTo>
                <a:lnTo>
                  <a:pt x="481013" y="319087"/>
                </a:lnTo>
                <a:lnTo>
                  <a:pt x="433388" y="366712"/>
                </a:lnTo>
                <a:lnTo>
                  <a:pt x="0" y="366712"/>
                </a:lnTo>
                <a:lnTo>
                  <a:pt x="0" y="17145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5" name="Freeform 804"/>
          <p:cNvSpPr/>
          <p:nvPr/>
        </p:nvSpPr>
        <p:spPr>
          <a:xfrm>
            <a:off x="8405749" y="2270835"/>
            <a:ext cx="441760" cy="1119124"/>
          </a:xfrm>
          <a:custGeom>
            <a:avLst/>
            <a:gdLst>
              <a:gd name="connsiteX0" fmla="*/ 221381 w 433137"/>
              <a:gd name="connsiteY0" fmla="*/ 0 h 1097280"/>
              <a:gd name="connsiteX1" fmla="*/ 86628 w 433137"/>
              <a:gd name="connsiteY1" fmla="*/ 0 h 1097280"/>
              <a:gd name="connsiteX2" fmla="*/ 86628 w 433137"/>
              <a:gd name="connsiteY2" fmla="*/ 182880 h 1097280"/>
              <a:gd name="connsiteX3" fmla="*/ 433137 w 433137"/>
              <a:gd name="connsiteY3" fmla="*/ 529389 h 1097280"/>
              <a:gd name="connsiteX4" fmla="*/ 433137 w 433137"/>
              <a:gd name="connsiteY4" fmla="*/ 1097280 h 1097280"/>
              <a:gd name="connsiteX5" fmla="*/ 0 w 433137"/>
              <a:gd name="connsiteY5" fmla="*/ 1097280 h 1097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3137" h="1097280">
                <a:moveTo>
                  <a:pt x="221381" y="0"/>
                </a:moveTo>
                <a:lnTo>
                  <a:pt x="86628" y="0"/>
                </a:lnTo>
                <a:lnTo>
                  <a:pt x="86628" y="182880"/>
                </a:lnTo>
                <a:lnTo>
                  <a:pt x="433137" y="529389"/>
                </a:lnTo>
                <a:lnTo>
                  <a:pt x="433137" y="1097280"/>
                </a:lnTo>
                <a:lnTo>
                  <a:pt x="0" y="109728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6" name="Freeform 805"/>
          <p:cNvSpPr/>
          <p:nvPr/>
        </p:nvSpPr>
        <p:spPr>
          <a:xfrm>
            <a:off x="8386114" y="3723731"/>
            <a:ext cx="392675" cy="1099491"/>
          </a:xfrm>
          <a:custGeom>
            <a:avLst/>
            <a:gdLst>
              <a:gd name="connsiteX0" fmla="*/ 0 w 385010"/>
              <a:gd name="connsiteY0" fmla="*/ 0 h 1078030"/>
              <a:gd name="connsiteX1" fmla="*/ 385010 w 385010"/>
              <a:gd name="connsiteY1" fmla="*/ 0 h 1078030"/>
              <a:gd name="connsiteX2" fmla="*/ 385010 w 385010"/>
              <a:gd name="connsiteY2" fmla="*/ 1078030 h 1078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5010" h="1078030">
                <a:moveTo>
                  <a:pt x="0" y="0"/>
                </a:moveTo>
                <a:lnTo>
                  <a:pt x="385010" y="0"/>
                </a:lnTo>
                <a:lnTo>
                  <a:pt x="385010" y="107803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7" name="Freeform 806"/>
          <p:cNvSpPr/>
          <p:nvPr/>
        </p:nvSpPr>
        <p:spPr>
          <a:xfrm>
            <a:off x="8405749" y="4037873"/>
            <a:ext cx="235606" cy="0"/>
          </a:xfrm>
          <a:custGeom>
            <a:avLst/>
            <a:gdLst>
              <a:gd name="connsiteX0" fmla="*/ 0 w 231007"/>
              <a:gd name="connsiteY0" fmla="*/ 0 h 0"/>
              <a:gd name="connsiteX1" fmla="*/ 231007 w 231007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1007">
                <a:moveTo>
                  <a:pt x="0" y="0"/>
                </a:moveTo>
                <a:lnTo>
                  <a:pt x="231007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8" name="Freeform 807"/>
          <p:cNvSpPr/>
          <p:nvPr/>
        </p:nvSpPr>
        <p:spPr>
          <a:xfrm>
            <a:off x="624237" y="3717460"/>
            <a:ext cx="6554129" cy="3302970"/>
          </a:xfrm>
          <a:custGeom>
            <a:avLst/>
            <a:gdLst>
              <a:gd name="connsiteX0" fmla="*/ 0 w 6451600"/>
              <a:gd name="connsiteY0" fmla="*/ 3175000 h 3175000"/>
              <a:gd name="connsiteX1" fmla="*/ 419100 w 6451600"/>
              <a:gd name="connsiteY1" fmla="*/ 2755900 h 3175000"/>
              <a:gd name="connsiteX2" fmla="*/ 5778500 w 6451600"/>
              <a:gd name="connsiteY2" fmla="*/ 2755900 h 3175000"/>
              <a:gd name="connsiteX3" fmla="*/ 6070600 w 6451600"/>
              <a:gd name="connsiteY3" fmla="*/ 2463800 h 3175000"/>
              <a:gd name="connsiteX4" fmla="*/ 6070600 w 6451600"/>
              <a:gd name="connsiteY4" fmla="*/ 190500 h 3175000"/>
              <a:gd name="connsiteX5" fmla="*/ 6261100 w 6451600"/>
              <a:gd name="connsiteY5" fmla="*/ 0 h 3175000"/>
              <a:gd name="connsiteX6" fmla="*/ 6451600 w 6451600"/>
              <a:gd name="connsiteY6" fmla="*/ 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51600" h="3175000">
                <a:moveTo>
                  <a:pt x="0" y="3175000"/>
                </a:moveTo>
                <a:lnTo>
                  <a:pt x="419100" y="2755900"/>
                </a:lnTo>
                <a:lnTo>
                  <a:pt x="5778500" y="2755900"/>
                </a:lnTo>
                <a:lnTo>
                  <a:pt x="6070600" y="2463800"/>
                </a:lnTo>
                <a:lnTo>
                  <a:pt x="6070600" y="190500"/>
                </a:lnTo>
                <a:lnTo>
                  <a:pt x="6261100" y="0"/>
                </a:lnTo>
                <a:lnTo>
                  <a:pt x="645160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9" name="Freeform 808"/>
          <p:cNvSpPr/>
          <p:nvPr/>
        </p:nvSpPr>
        <p:spPr>
          <a:xfrm>
            <a:off x="779671" y="4054233"/>
            <a:ext cx="6385742" cy="2953244"/>
          </a:xfrm>
          <a:custGeom>
            <a:avLst/>
            <a:gdLst>
              <a:gd name="connsiteX0" fmla="*/ 0 w 6311900"/>
              <a:gd name="connsiteY0" fmla="*/ 2857500 h 2857500"/>
              <a:gd name="connsiteX1" fmla="*/ 317500 w 6311900"/>
              <a:gd name="connsiteY1" fmla="*/ 2540000 h 2857500"/>
              <a:gd name="connsiteX2" fmla="*/ 5638800 w 6311900"/>
              <a:gd name="connsiteY2" fmla="*/ 2540000 h 2857500"/>
              <a:gd name="connsiteX3" fmla="*/ 5994400 w 6311900"/>
              <a:gd name="connsiteY3" fmla="*/ 2184400 h 2857500"/>
              <a:gd name="connsiteX4" fmla="*/ 5994400 w 6311900"/>
              <a:gd name="connsiteY4" fmla="*/ 0 h 2857500"/>
              <a:gd name="connsiteX5" fmla="*/ 6311900 w 6311900"/>
              <a:gd name="connsiteY5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1900" h="2857500">
                <a:moveTo>
                  <a:pt x="0" y="2857500"/>
                </a:moveTo>
                <a:lnTo>
                  <a:pt x="317500" y="2540000"/>
                </a:lnTo>
                <a:lnTo>
                  <a:pt x="5638800" y="2540000"/>
                </a:lnTo>
                <a:lnTo>
                  <a:pt x="5994400" y="2184400"/>
                </a:lnTo>
                <a:lnTo>
                  <a:pt x="5994400" y="0"/>
                </a:lnTo>
                <a:lnTo>
                  <a:pt x="631190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1" name="Freeform 810"/>
          <p:cNvSpPr/>
          <p:nvPr/>
        </p:nvSpPr>
        <p:spPr>
          <a:xfrm>
            <a:off x="1090539" y="4403960"/>
            <a:ext cx="7033383" cy="2590565"/>
          </a:xfrm>
          <a:custGeom>
            <a:avLst/>
            <a:gdLst>
              <a:gd name="connsiteX0" fmla="*/ 0 w 6921500"/>
              <a:gd name="connsiteY0" fmla="*/ 2540000 h 2540000"/>
              <a:gd name="connsiteX1" fmla="*/ 139700 w 6921500"/>
              <a:gd name="connsiteY1" fmla="*/ 2400300 h 2540000"/>
              <a:gd name="connsiteX2" fmla="*/ 5295900 w 6921500"/>
              <a:gd name="connsiteY2" fmla="*/ 2400300 h 2540000"/>
              <a:gd name="connsiteX3" fmla="*/ 6921500 w 6921500"/>
              <a:gd name="connsiteY3" fmla="*/ 774700 h 2540000"/>
              <a:gd name="connsiteX4" fmla="*/ 6921500 w 6921500"/>
              <a:gd name="connsiteY4" fmla="*/ 0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1500" h="2540000">
                <a:moveTo>
                  <a:pt x="0" y="2540000"/>
                </a:moveTo>
                <a:lnTo>
                  <a:pt x="139700" y="2400300"/>
                </a:lnTo>
                <a:lnTo>
                  <a:pt x="5295900" y="2400300"/>
                </a:lnTo>
                <a:lnTo>
                  <a:pt x="6921500" y="774700"/>
                </a:lnTo>
                <a:lnTo>
                  <a:pt x="692150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2" name="Freeform 811"/>
          <p:cNvSpPr/>
          <p:nvPr/>
        </p:nvSpPr>
        <p:spPr>
          <a:xfrm>
            <a:off x="7061790" y="4326243"/>
            <a:ext cx="738311" cy="1683867"/>
          </a:xfrm>
          <a:custGeom>
            <a:avLst/>
            <a:gdLst>
              <a:gd name="connsiteX0" fmla="*/ 723900 w 723900"/>
              <a:gd name="connsiteY0" fmla="*/ 0 h 1651000"/>
              <a:gd name="connsiteX1" fmla="*/ 723900 w 723900"/>
              <a:gd name="connsiteY1" fmla="*/ 927100 h 1651000"/>
              <a:gd name="connsiteX2" fmla="*/ 0 w 723900"/>
              <a:gd name="connsiteY2" fmla="*/ 1651000 h 165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3900" h="1651000">
                <a:moveTo>
                  <a:pt x="723900" y="0"/>
                </a:moveTo>
                <a:lnTo>
                  <a:pt x="723900" y="927100"/>
                </a:lnTo>
                <a:lnTo>
                  <a:pt x="0" y="16510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3" name="Freeform 812"/>
          <p:cNvSpPr/>
          <p:nvPr/>
        </p:nvSpPr>
        <p:spPr>
          <a:xfrm>
            <a:off x="7165413" y="4326243"/>
            <a:ext cx="336773" cy="1204613"/>
          </a:xfrm>
          <a:custGeom>
            <a:avLst/>
            <a:gdLst>
              <a:gd name="connsiteX0" fmla="*/ 330200 w 330200"/>
              <a:gd name="connsiteY0" fmla="*/ 0 h 1181100"/>
              <a:gd name="connsiteX1" fmla="*/ 330200 w 330200"/>
              <a:gd name="connsiteY1" fmla="*/ 292100 h 1181100"/>
              <a:gd name="connsiteX2" fmla="*/ 0 w 330200"/>
              <a:gd name="connsiteY2" fmla="*/ 622300 h 1181100"/>
              <a:gd name="connsiteX3" fmla="*/ 0 w 330200"/>
              <a:gd name="connsiteY3" fmla="*/ 1181100 h 118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200" h="1181100">
                <a:moveTo>
                  <a:pt x="330200" y="0"/>
                </a:moveTo>
                <a:lnTo>
                  <a:pt x="330200" y="292100"/>
                </a:lnTo>
                <a:lnTo>
                  <a:pt x="0" y="622300"/>
                </a:lnTo>
                <a:lnTo>
                  <a:pt x="0" y="11811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4" name="Freeform 813"/>
          <p:cNvSpPr/>
          <p:nvPr/>
        </p:nvSpPr>
        <p:spPr>
          <a:xfrm>
            <a:off x="6933216" y="2319920"/>
            <a:ext cx="873702" cy="814801"/>
          </a:xfrm>
          <a:custGeom>
            <a:avLst/>
            <a:gdLst>
              <a:gd name="connsiteX0" fmla="*/ 0 w 856648"/>
              <a:gd name="connsiteY0" fmla="*/ 0 h 798897"/>
              <a:gd name="connsiteX1" fmla="*/ 606391 w 856648"/>
              <a:gd name="connsiteY1" fmla="*/ 0 h 798897"/>
              <a:gd name="connsiteX2" fmla="*/ 856648 w 856648"/>
              <a:gd name="connsiteY2" fmla="*/ 250257 h 798897"/>
              <a:gd name="connsiteX3" fmla="*/ 856648 w 856648"/>
              <a:gd name="connsiteY3" fmla="*/ 798897 h 798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6648" h="798897">
                <a:moveTo>
                  <a:pt x="0" y="0"/>
                </a:moveTo>
                <a:lnTo>
                  <a:pt x="606391" y="0"/>
                </a:lnTo>
                <a:lnTo>
                  <a:pt x="856648" y="250257"/>
                </a:lnTo>
                <a:lnTo>
                  <a:pt x="856648" y="798897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5" name="Freeform 814"/>
          <p:cNvSpPr/>
          <p:nvPr/>
        </p:nvSpPr>
        <p:spPr>
          <a:xfrm>
            <a:off x="6933218" y="2162849"/>
            <a:ext cx="1158391" cy="932603"/>
          </a:xfrm>
          <a:custGeom>
            <a:avLst/>
            <a:gdLst>
              <a:gd name="connsiteX0" fmla="*/ 0 w 1126155"/>
              <a:gd name="connsiteY0" fmla="*/ 0 h 914400"/>
              <a:gd name="connsiteX1" fmla="*/ 664143 w 1126155"/>
              <a:gd name="connsiteY1" fmla="*/ 0 h 914400"/>
              <a:gd name="connsiteX2" fmla="*/ 1126155 w 1126155"/>
              <a:gd name="connsiteY2" fmla="*/ 462012 h 914400"/>
              <a:gd name="connsiteX3" fmla="*/ 1126155 w 1126155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6155" h="914400">
                <a:moveTo>
                  <a:pt x="0" y="0"/>
                </a:moveTo>
                <a:lnTo>
                  <a:pt x="664143" y="0"/>
                </a:lnTo>
                <a:lnTo>
                  <a:pt x="1126155" y="462012"/>
                </a:lnTo>
                <a:lnTo>
                  <a:pt x="1126155" y="9144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6" name="Freeform 815"/>
          <p:cNvSpPr/>
          <p:nvPr/>
        </p:nvSpPr>
        <p:spPr>
          <a:xfrm>
            <a:off x="6923400" y="2015596"/>
            <a:ext cx="520294" cy="0"/>
          </a:xfrm>
          <a:custGeom>
            <a:avLst/>
            <a:gdLst>
              <a:gd name="connsiteX0" fmla="*/ 0 w 510138"/>
              <a:gd name="connsiteY0" fmla="*/ 0 h 0"/>
              <a:gd name="connsiteX1" fmla="*/ 510138 w 51013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0138">
                <a:moveTo>
                  <a:pt x="0" y="0"/>
                </a:moveTo>
                <a:lnTo>
                  <a:pt x="510138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8" name="Freeform 817"/>
          <p:cNvSpPr/>
          <p:nvPr/>
        </p:nvSpPr>
        <p:spPr>
          <a:xfrm>
            <a:off x="9522827" y="533656"/>
            <a:ext cx="1080266" cy="427443"/>
          </a:xfrm>
          <a:custGeom>
            <a:avLst/>
            <a:gdLst>
              <a:gd name="connsiteX0" fmla="*/ 1005840 w 1005840"/>
              <a:gd name="connsiteY0" fmla="*/ 0 h 419100"/>
              <a:gd name="connsiteX1" fmla="*/ 312420 w 1005840"/>
              <a:gd name="connsiteY1" fmla="*/ 0 h 419100"/>
              <a:gd name="connsiteX2" fmla="*/ 190500 w 1005840"/>
              <a:gd name="connsiteY2" fmla="*/ 121920 h 419100"/>
              <a:gd name="connsiteX3" fmla="*/ 0 w 1005840"/>
              <a:gd name="connsiteY3" fmla="*/ 121920 h 419100"/>
              <a:gd name="connsiteX4" fmla="*/ 0 w 1005840"/>
              <a:gd name="connsiteY4" fmla="*/ 419100 h 41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40" h="419100">
                <a:moveTo>
                  <a:pt x="1005840" y="0"/>
                </a:moveTo>
                <a:lnTo>
                  <a:pt x="312420" y="0"/>
                </a:lnTo>
                <a:lnTo>
                  <a:pt x="190500" y="121920"/>
                </a:lnTo>
                <a:lnTo>
                  <a:pt x="0" y="121920"/>
                </a:lnTo>
                <a:lnTo>
                  <a:pt x="0" y="4191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4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9" name="Freeform 818"/>
          <p:cNvSpPr/>
          <p:nvPr/>
        </p:nvSpPr>
        <p:spPr>
          <a:xfrm>
            <a:off x="9110927" y="347135"/>
            <a:ext cx="1484394" cy="598420"/>
          </a:xfrm>
          <a:custGeom>
            <a:avLst/>
            <a:gdLst>
              <a:gd name="connsiteX0" fmla="*/ 1455420 w 1455420"/>
              <a:gd name="connsiteY0" fmla="*/ 0 h 586740"/>
              <a:gd name="connsiteX1" fmla="*/ 685800 w 1455420"/>
              <a:gd name="connsiteY1" fmla="*/ 0 h 586740"/>
              <a:gd name="connsiteX2" fmla="*/ 586740 w 1455420"/>
              <a:gd name="connsiteY2" fmla="*/ 99060 h 586740"/>
              <a:gd name="connsiteX3" fmla="*/ 175260 w 1455420"/>
              <a:gd name="connsiteY3" fmla="*/ 99060 h 586740"/>
              <a:gd name="connsiteX4" fmla="*/ 0 w 1455420"/>
              <a:gd name="connsiteY4" fmla="*/ 274320 h 586740"/>
              <a:gd name="connsiteX5" fmla="*/ 0 w 1455420"/>
              <a:gd name="connsiteY5" fmla="*/ 586740 h 586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5420" h="586740">
                <a:moveTo>
                  <a:pt x="1455420" y="0"/>
                </a:moveTo>
                <a:lnTo>
                  <a:pt x="685800" y="0"/>
                </a:lnTo>
                <a:lnTo>
                  <a:pt x="586740" y="99060"/>
                </a:lnTo>
                <a:lnTo>
                  <a:pt x="175260" y="99060"/>
                </a:lnTo>
                <a:lnTo>
                  <a:pt x="0" y="274320"/>
                </a:lnTo>
                <a:lnTo>
                  <a:pt x="0" y="58674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157" name="Group 1156"/>
          <p:cNvGrpSpPr/>
          <p:nvPr/>
        </p:nvGrpSpPr>
        <p:grpSpPr>
          <a:xfrm>
            <a:off x="7151576" y="3078735"/>
            <a:ext cx="1268581" cy="1268575"/>
            <a:chOff x="7017864" y="3022334"/>
            <a:chExt cx="1243820" cy="1243814"/>
          </a:xfrm>
        </p:grpSpPr>
        <p:sp>
          <p:nvSpPr>
            <p:cNvPr id="1158" name="Rounded Rectangle 5"/>
            <p:cNvSpPr/>
            <p:nvPr/>
          </p:nvSpPr>
          <p:spPr>
            <a:xfrm>
              <a:off x="7203873" y="3345744"/>
              <a:ext cx="871802" cy="596995"/>
            </a:xfrm>
            <a:custGeom>
              <a:avLst/>
              <a:gdLst/>
              <a:ahLst/>
              <a:cxnLst/>
              <a:rect l="l" t="t" r="r" b="b"/>
              <a:pathLst>
                <a:path w="2103120" h="1440180">
                  <a:moveTo>
                    <a:pt x="108334" y="103348"/>
                  </a:moveTo>
                  <a:cubicBezTo>
                    <a:pt x="94006" y="103348"/>
                    <a:pt x="82391" y="114963"/>
                    <a:pt x="82391" y="129291"/>
                  </a:cubicBezTo>
                  <a:lnTo>
                    <a:pt x="82391" y="1284063"/>
                  </a:lnTo>
                  <a:cubicBezTo>
                    <a:pt x="82391" y="1298391"/>
                    <a:pt x="94006" y="1310006"/>
                    <a:pt x="108334" y="1310006"/>
                  </a:cubicBezTo>
                  <a:lnTo>
                    <a:pt x="1994786" y="1310006"/>
                  </a:lnTo>
                  <a:cubicBezTo>
                    <a:pt x="2009114" y="1310006"/>
                    <a:pt x="2020729" y="1298391"/>
                    <a:pt x="2020729" y="1284063"/>
                  </a:cubicBezTo>
                  <a:lnTo>
                    <a:pt x="2020729" y="129291"/>
                  </a:lnTo>
                  <a:cubicBezTo>
                    <a:pt x="2020729" y="114963"/>
                    <a:pt x="2009114" y="103348"/>
                    <a:pt x="1994786" y="103348"/>
                  </a:cubicBezTo>
                  <a:close/>
                  <a:moveTo>
                    <a:pt x="1051561" y="37624"/>
                  </a:moveTo>
                  <a:cubicBezTo>
                    <a:pt x="1038936" y="37624"/>
                    <a:pt x="1028701" y="47859"/>
                    <a:pt x="1028701" y="60484"/>
                  </a:cubicBezTo>
                  <a:cubicBezTo>
                    <a:pt x="1028701" y="73109"/>
                    <a:pt x="1038936" y="83344"/>
                    <a:pt x="1051561" y="83344"/>
                  </a:cubicBezTo>
                  <a:cubicBezTo>
                    <a:pt x="1064186" y="83344"/>
                    <a:pt x="1074421" y="73109"/>
                    <a:pt x="1074421" y="60484"/>
                  </a:cubicBezTo>
                  <a:cubicBezTo>
                    <a:pt x="1074421" y="47859"/>
                    <a:pt x="1064186" y="37624"/>
                    <a:pt x="1051561" y="37624"/>
                  </a:cubicBezTo>
                  <a:close/>
                  <a:moveTo>
                    <a:pt x="30964" y="0"/>
                  </a:moveTo>
                  <a:lnTo>
                    <a:pt x="2072156" y="0"/>
                  </a:lnTo>
                  <a:cubicBezTo>
                    <a:pt x="2089257" y="0"/>
                    <a:pt x="2103120" y="13863"/>
                    <a:pt x="2103120" y="30964"/>
                  </a:cubicBezTo>
                  <a:lnTo>
                    <a:pt x="2103120" y="1409216"/>
                  </a:lnTo>
                  <a:cubicBezTo>
                    <a:pt x="2103120" y="1426317"/>
                    <a:pt x="2089257" y="1440180"/>
                    <a:pt x="2072156" y="1440180"/>
                  </a:cubicBezTo>
                  <a:lnTo>
                    <a:pt x="30964" y="1440180"/>
                  </a:lnTo>
                  <a:cubicBezTo>
                    <a:pt x="13863" y="1440180"/>
                    <a:pt x="0" y="1426317"/>
                    <a:pt x="0" y="1409216"/>
                  </a:cubicBezTo>
                  <a:lnTo>
                    <a:pt x="0" y="30964"/>
                  </a:lnTo>
                  <a:cubicBezTo>
                    <a:pt x="0" y="13863"/>
                    <a:pt x="13863" y="0"/>
                    <a:pt x="30964" y="0"/>
                  </a:cubicBez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097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4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159" name="Group 1158"/>
            <p:cNvGrpSpPr/>
            <p:nvPr/>
          </p:nvGrpSpPr>
          <p:grpSpPr>
            <a:xfrm>
              <a:off x="7017864" y="3022334"/>
              <a:ext cx="1243820" cy="1243814"/>
              <a:chOff x="7172539" y="1843152"/>
              <a:chExt cx="1465201" cy="1465198"/>
            </a:xfrm>
            <a:solidFill>
              <a:srgbClr val="1A3762"/>
            </a:solidFill>
          </p:grpSpPr>
          <p:sp>
            <p:nvSpPr>
              <p:cNvPr id="1160" name="Rounded Rectangle 47"/>
              <p:cNvSpPr/>
              <p:nvPr/>
            </p:nvSpPr>
            <p:spPr>
              <a:xfrm rot="5400000">
                <a:off x="7172541" y="1843150"/>
                <a:ext cx="1465198" cy="1465201"/>
              </a:xfrm>
              <a:custGeom>
                <a:avLst/>
                <a:gdLst/>
                <a:ahLst/>
                <a:cxnLst/>
                <a:rect l="l" t="t" r="r" b="b"/>
                <a:pathLst>
                  <a:path w="4796166" h="4796165">
                    <a:moveTo>
                      <a:pt x="4535493" y="1516069"/>
                    </a:moveTo>
                    <a:lnTo>
                      <a:pt x="4535493" y="921709"/>
                    </a:lnTo>
                    <a:lnTo>
                      <a:pt x="4697104" y="921709"/>
                    </a:lnTo>
                    <a:cubicBezTo>
                      <a:pt x="4751814" y="921709"/>
                      <a:pt x="4796166" y="966061"/>
                      <a:pt x="4796166" y="1020771"/>
                    </a:cubicBezTo>
                    <a:lnTo>
                      <a:pt x="4796166" y="1417007"/>
                    </a:lnTo>
                    <a:cubicBezTo>
                      <a:pt x="4796166" y="1471717"/>
                      <a:pt x="4751814" y="1516069"/>
                      <a:pt x="4697104" y="1516069"/>
                    </a:cubicBezTo>
                    <a:close/>
                    <a:moveTo>
                      <a:pt x="4535493" y="2695264"/>
                    </a:moveTo>
                    <a:lnTo>
                      <a:pt x="4535493" y="2100904"/>
                    </a:lnTo>
                    <a:lnTo>
                      <a:pt x="4697104" y="2100904"/>
                    </a:lnTo>
                    <a:cubicBezTo>
                      <a:pt x="4751814" y="2100904"/>
                      <a:pt x="4796166" y="2145256"/>
                      <a:pt x="4796166" y="2199966"/>
                    </a:cubicBezTo>
                    <a:lnTo>
                      <a:pt x="4796166" y="2596202"/>
                    </a:lnTo>
                    <a:cubicBezTo>
                      <a:pt x="4796166" y="2650912"/>
                      <a:pt x="4751814" y="2695264"/>
                      <a:pt x="4697104" y="2695264"/>
                    </a:cubicBezTo>
                    <a:close/>
                    <a:moveTo>
                      <a:pt x="4535493" y="3874459"/>
                    </a:moveTo>
                    <a:lnTo>
                      <a:pt x="4535493" y="3280099"/>
                    </a:lnTo>
                    <a:lnTo>
                      <a:pt x="4697104" y="3280099"/>
                    </a:lnTo>
                    <a:cubicBezTo>
                      <a:pt x="4751814" y="3280099"/>
                      <a:pt x="4796166" y="3324451"/>
                      <a:pt x="4796166" y="3379161"/>
                    </a:cubicBezTo>
                    <a:lnTo>
                      <a:pt x="4796166" y="3775397"/>
                    </a:lnTo>
                    <a:cubicBezTo>
                      <a:pt x="4796166" y="3830107"/>
                      <a:pt x="4751814" y="3874459"/>
                      <a:pt x="4697104" y="3874459"/>
                    </a:cubicBezTo>
                    <a:close/>
                    <a:moveTo>
                      <a:pt x="3280098" y="260673"/>
                    </a:moveTo>
                    <a:lnTo>
                      <a:pt x="3280098" y="99062"/>
                    </a:lnTo>
                    <a:cubicBezTo>
                      <a:pt x="3280098" y="44352"/>
                      <a:pt x="3324450" y="0"/>
                      <a:pt x="3379160" y="0"/>
                    </a:cubicBezTo>
                    <a:lnTo>
                      <a:pt x="3775396" y="0"/>
                    </a:lnTo>
                    <a:cubicBezTo>
                      <a:pt x="3830106" y="0"/>
                      <a:pt x="3874458" y="44352"/>
                      <a:pt x="3874458" y="99062"/>
                    </a:cubicBezTo>
                    <a:lnTo>
                      <a:pt x="3874458" y="260673"/>
                    </a:lnTo>
                    <a:close/>
                    <a:moveTo>
                      <a:pt x="3280098" y="4697103"/>
                    </a:moveTo>
                    <a:lnTo>
                      <a:pt x="3280098" y="4535493"/>
                    </a:lnTo>
                    <a:lnTo>
                      <a:pt x="3874458" y="4535493"/>
                    </a:lnTo>
                    <a:lnTo>
                      <a:pt x="3874458" y="4697103"/>
                    </a:lnTo>
                    <a:cubicBezTo>
                      <a:pt x="3874458" y="4751813"/>
                      <a:pt x="3830106" y="4796165"/>
                      <a:pt x="3775396" y="4796165"/>
                    </a:cubicBezTo>
                    <a:lnTo>
                      <a:pt x="3379160" y="4796165"/>
                    </a:lnTo>
                    <a:cubicBezTo>
                      <a:pt x="3324450" y="4796165"/>
                      <a:pt x="3280098" y="4751813"/>
                      <a:pt x="3280098" y="4697103"/>
                    </a:cubicBezTo>
                    <a:close/>
                    <a:moveTo>
                      <a:pt x="2100903" y="260673"/>
                    </a:moveTo>
                    <a:lnTo>
                      <a:pt x="2100903" y="99062"/>
                    </a:lnTo>
                    <a:cubicBezTo>
                      <a:pt x="2100903" y="44352"/>
                      <a:pt x="2145255" y="0"/>
                      <a:pt x="2199965" y="0"/>
                    </a:cubicBezTo>
                    <a:lnTo>
                      <a:pt x="2596201" y="0"/>
                    </a:lnTo>
                    <a:cubicBezTo>
                      <a:pt x="2650911" y="0"/>
                      <a:pt x="2695263" y="44352"/>
                      <a:pt x="2695263" y="99062"/>
                    </a:cubicBezTo>
                    <a:lnTo>
                      <a:pt x="2695263" y="260673"/>
                    </a:lnTo>
                    <a:close/>
                    <a:moveTo>
                      <a:pt x="2100903" y="4697103"/>
                    </a:moveTo>
                    <a:lnTo>
                      <a:pt x="2100903" y="4535493"/>
                    </a:lnTo>
                    <a:lnTo>
                      <a:pt x="2695263" y="4535493"/>
                    </a:lnTo>
                    <a:lnTo>
                      <a:pt x="2695263" y="4697103"/>
                    </a:lnTo>
                    <a:cubicBezTo>
                      <a:pt x="2695263" y="4751813"/>
                      <a:pt x="2650911" y="4796165"/>
                      <a:pt x="2596201" y="4796165"/>
                    </a:cubicBezTo>
                    <a:lnTo>
                      <a:pt x="2199965" y="4796165"/>
                    </a:lnTo>
                    <a:cubicBezTo>
                      <a:pt x="2145255" y="4796165"/>
                      <a:pt x="2100903" y="4751813"/>
                      <a:pt x="2100903" y="4697103"/>
                    </a:cubicBezTo>
                    <a:close/>
                    <a:moveTo>
                      <a:pt x="921708" y="260673"/>
                    </a:moveTo>
                    <a:lnTo>
                      <a:pt x="921708" y="99062"/>
                    </a:lnTo>
                    <a:cubicBezTo>
                      <a:pt x="921708" y="44352"/>
                      <a:pt x="966060" y="0"/>
                      <a:pt x="1020770" y="0"/>
                    </a:cubicBezTo>
                    <a:lnTo>
                      <a:pt x="1417006" y="0"/>
                    </a:lnTo>
                    <a:cubicBezTo>
                      <a:pt x="1471716" y="0"/>
                      <a:pt x="1516068" y="44352"/>
                      <a:pt x="1516068" y="99062"/>
                    </a:cubicBezTo>
                    <a:lnTo>
                      <a:pt x="1516068" y="260673"/>
                    </a:lnTo>
                    <a:close/>
                    <a:moveTo>
                      <a:pt x="921708" y="4697103"/>
                    </a:moveTo>
                    <a:lnTo>
                      <a:pt x="921708" y="4535493"/>
                    </a:lnTo>
                    <a:lnTo>
                      <a:pt x="1516068" y="4535493"/>
                    </a:lnTo>
                    <a:lnTo>
                      <a:pt x="1516068" y="4697103"/>
                    </a:lnTo>
                    <a:cubicBezTo>
                      <a:pt x="1516068" y="4751813"/>
                      <a:pt x="1471716" y="4796165"/>
                      <a:pt x="1417006" y="4796165"/>
                    </a:cubicBezTo>
                    <a:lnTo>
                      <a:pt x="1020770" y="4796165"/>
                    </a:lnTo>
                    <a:cubicBezTo>
                      <a:pt x="966060" y="4796165"/>
                      <a:pt x="921708" y="4751813"/>
                      <a:pt x="921708" y="4697103"/>
                    </a:cubicBezTo>
                    <a:close/>
                    <a:moveTo>
                      <a:pt x="0" y="1417007"/>
                    </a:moveTo>
                    <a:lnTo>
                      <a:pt x="0" y="1020771"/>
                    </a:lnTo>
                    <a:cubicBezTo>
                      <a:pt x="0" y="966061"/>
                      <a:pt x="44352" y="921709"/>
                      <a:pt x="99062" y="921709"/>
                    </a:cubicBezTo>
                    <a:lnTo>
                      <a:pt x="260673" y="921709"/>
                    </a:lnTo>
                    <a:lnTo>
                      <a:pt x="260673" y="1516069"/>
                    </a:lnTo>
                    <a:lnTo>
                      <a:pt x="99062" y="1516069"/>
                    </a:lnTo>
                    <a:cubicBezTo>
                      <a:pt x="44352" y="1516069"/>
                      <a:pt x="0" y="1471717"/>
                      <a:pt x="0" y="1417007"/>
                    </a:cubicBezTo>
                    <a:close/>
                    <a:moveTo>
                      <a:pt x="0" y="2596202"/>
                    </a:moveTo>
                    <a:lnTo>
                      <a:pt x="0" y="2199966"/>
                    </a:lnTo>
                    <a:cubicBezTo>
                      <a:pt x="0" y="2145256"/>
                      <a:pt x="44352" y="2100904"/>
                      <a:pt x="99062" y="2100904"/>
                    </a:cubicBezTo>
                    <a:lnTo>
                      <a:pt x="260673" y="2100904"/>
                    </a:lnTo>
                    <a:lnTo>
                      <a:pt x="260673" y="2695264"/>
                    </a:lnTo>
                    <a:lnTo>
                      <a:pt x="99062" y="2695264"/>
                    </a:lnTo>
                    <a:cubicBezTo>
                      <a:pt x="44352" y="2695264"/>
                      <a:pt x="0" y="2650912"/>
                      <a:pt x="0" y="2596202"/>
                    </a:cubicBezTo>
                    <a:close/>
                    <a:moveTo>
                      <a:pt x="0" y="3775397"/>
                    </a:moveTo>
                    <a:lnTo>
                      <a:pt x="0" y="3379161"/>
                    </a:lnTo>
                    <a:cubicBezTo>
                      <a:pt x="0" y="3324451"/>
                      <a:pt x="44352" y="3280099"/>
                      <a:pt x="99062" y="3280099"/>
                    </a:cubicBezTo>
                    <a:lnTo>
                      <a:pt x="260673" y="3280099"/>
                    </a:lnTo>
                    <a:lnTo>
                      <a:pt x="260673" y="3874459"/>
                    </a:lnTo>
                    <a:lnTo>
                      <a:pt x="99062" y="3874459"/>
                    </a:lnTo>
                    <a:cubicBezTo>
                      <a:pt x="44352" y="3874459"/>
                      <a:pt x="0" y="3830107"/>
                      <a:pt x="0" y="3775397"/>
                    </a:cubicBez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1097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8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61" name="Freeform 1160"/>
              <p:cNvSpPr/>
              <p:nvPr/>
            </p:nvSpPr>
            <p:spPr>
              <a:xfrm>
                <a:off x="7283599" y="1954211"/>
                <a:ext cx="1243081" cy="1243078"/>
              </a:xfrm>
              <a:custGeom>
                <a:avLst/>
                <a:gdLst>
                  <a:gd name="connsiteX0" fmla="*/ 93115 w 1243081"/>
                  <a:gd name="connsiteY0" fmla="*/ 39574 h 1243078"/>
                  <a:gd name="connsiteX1" fmla="*/ 84364 w 1243081"/>
                  <a:gd name="connsiteY1" fmla="*/ 41341 h 1243078"/>
                  <a:gd name="connsiteX2" fmla="*/ 37097 w 1243081"/>
                  <a:gd name="connsiteY2" fmla="*/ 41341 h 1243078"/>
                  <a:gd name="connsiteX3" fmla="*/ 37097 w 1243081"/>
                  <a:gd name="connsiteY3" fmla="*/ 1201739 h 1243078"/>
                  <a:gd name="connsiteX4" fmla="*/ 1205984 w 1243081"/>
                  <a:gd name="connsiteY4" fmla="*/ 1201739 h 1243078"/>
                  <a:gd name="connsiteX5" fmla="*/ 1205984 w 1243081"/>
                  <a:gd name="connsiteY5" fmla="*/ 41341 h 1243078"/>
                  <a:gd name="connsiteX6" fmla="*/ 101866 w 1243081"/>
                  <a:gd name="connsiteY6" fmla="*/ 41341 h 1243078"/>
                  <a:gd name="connsiteX7" fmla="*/ 0 w 1243081"/>
                  <a:gd name="connsiteY7" fmla="*/ 0 h 1243078"/>
                  <a:gd name="connsiteX8" fmla="*/ 1243081 w 1243081"/>
                  <a:gd name="connsiteY8" fmla="*/ 0 h 1243078"/>
                  <a:gd name="connsiteX9" fmla="*/ 1243081 w 1243081"/>
                  <a:gd name="connsiteY9" fmla="*/ 1243078 h 1243078"/>
                  <a:gd name="connsiteX10" fmla="*/ 0 w 1243081"/>
                  <a:gd name="connsiteY10" fmla="*/ 1243078 h 124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3081" h="1243078">
                    <a:moveTo>
                      <a:pt x="93115" y="39574"/>
                    </a:moveTo>
                    <a:lnTo>
                      <a:pt x="84364" y="41341"/>
                    </a:lnTo>
                    <a:lnTo>
                      <a:pt x="37097" y="41341"/>
                    </a:lnTo>
                    <a:lnTo>
                      <a:pt x="37097" y="1201739"/>
                    </a:lnTo>
                    <a:lnTo>
                      <a:pt x="1205984" y="1201739"/>
                    </a:lnTo>
                    <a:lnTo>
                      <a:pt x="1205984" y="41341"/>
                    </a:lnTo>
                    <a:lnTo>
                      <a:pt x="101866" y="41341"/>
                    </a:lnTo>
                    <a:close/>
                    <a:moveTo>
                      <a:pt x="0" y="0"/>
                    </a:moveTo>
                    <a:lnTo>
                      <a:pt x="1243081" y="0"/>
                    </a:lnTo>
                    <a:lnTo>
                      <a:pt x="1243081" y="1243078"/>
                    </a:lnTo>
                    <a:lnTo>
                      <a:pt x="0" y="1243078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11097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8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48" name="Freeform 447"/>
          <p:cNvSpPr/>
          <p:nvPr/>
        </p:nvSpPr>
        <p:spPr>
          <a:xfrm>
            <a:off x="769758" y="5240659"/>
            <a:ext cx="2548184" cy="167782"/>
          </a:xfrm>
          <a:custGeom>
            <a:avLst/>
            <a:gdLst>
              <a:gd name="connsiteX0" fmla="*/ 0 w 3086100"/>
              <a:gd name="connsiteY0" fmla="*/ 203200 h 203200"/>
              <a:gd name="connsiteX1" fmla="*/ 203200 w 3086100"/>
              <a:gd name="connsiteY1" fmla="*/ 0 h 203200"/>
              <a:gd name="connsiteX2" fmla="*/ 3086100 w 3086100"/>
              <a:gd name="connsiteY2" fmla="*/ 0 h 2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86100" h="203200">
                <a:moveTo>
                  <a:pt x="0" y="203200"/>
                </a:moveTo>
                <a:lnTo>
                  <a:pt x="203200" y="0"/>
                </a:lnTo>
                <a:lnTo>
                  <a:pt x="3086100" y="0"/>
                </a:lnTo>
              </a:path>
            </a:pathLst>
          </a:custGeom>
          <a:noFill/>
          <a:ln w="19050">
            <a:solidFill>
              <a:schemeClr val="bg1">
                <a:alpha val="1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9" name="Freeform 788"/>
          <p:cNvSpPr/>
          <p:nvPr/>
        </p:nvSpPr>
        <p:spPr>
          <a:xfrm>
            <a:off x="10387499" y="4947916"/>
            <a:ext cx="277106" cy="399358"/>
          </a:xfrm>
          <a:custGeom>
            <a:avLst/>
            <a:gdLst>
              <a:gd name="connsiteX0" fmla="*/ 0 w 259080"/>
              <a:gd name="connsiteY0" fmla="*/ 373380 h 373380"/>
              <a:gd name="connsiteX1" fmla="*/ 0 w 259080"/>
              <a:gd name="connsiteY1" fmla="*/ 259080 h 373380"/>
              <a:gd name="connsiteX2" fmla="*/ 259080 w 259080"/>
              <a:gd name="connsiteY2" fmla="*/ 0 h 373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080" h="373380">
                <a:moveTo>
                  <a:pt x="0" y="373380"/>
                </a:moveTo>
                <a:lnTo>
                  <a:pt x="0" y="259080"/>
                </a:lnTo>
                <a:lnTo>
                  <a:pt x="25908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90" name="Freeform 789"/>
          <p:cNvSpPr/>
          <p:nvPr/>
        </p:nvSpPr>
        <p:spPr>
          <a:xfrm>
            <a:off x="11104712" y="5102766"/>
            <a:ext cx="163004" cy="268956"/>
          </a:xfrm>
          <a:custGeom>
            <a:avLst/>
            <a:gdLst>
              <a:gd name="connsiteX0" fmla="*/ 0 w 152400"/>
              <a:gd name="connsiteY0" fmla="*/ 251460 h 251460"/>
              <a:gd name="connsiteX1" fmla="*/ 0 w 152400"/>
              <a:gd name="connsiteY1" fmla="*/ 152400 h 251460"/>
              <a:gd name="connsiteX2" fmla="*/ 152400 w 152400"/>
              <a:gd name="connsiteY2" fmla="*/ 0 h 25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2400" h="251460">
                <a:moveTo>
                  <a:pt x="0" y="251460"/>
                </a:moveTo>
                <a:lnTo>
                  <a:pt x="0" y="152400"/>
                </a:lnTo>
                <a:lnTo>
                  <a:pt x="15240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91" name="Freeform 790"/>
          <p:cNvSpPr/>
          <p:nvPr/>
        </p:nvSpPr>
        <p:spPr>
          <a:xfrm>
            <a:off x="9368726" y="5714030"/>
            <a:ext cx="676464" cy="823167"/>
          </a:xfrm>
          <a:custGeom>
            <a:avLst/>
            <a:gdLst>
              <a:gd name="connsiteX0" fmla="*/ 632460 w 632460"/>
              <a:gd name="connsiteY0" fmla="*/ 0 h 769620"/>
              <a:gd name="connsiteX1" fmla="*/ 464820 w 632460"/>
              <a:gd name="connsiteY1" fmla="*/ 0 h 769620"/>
              <a:gd name="connsiteX2" fmla="*/ 464820 w 632460"/>
              <a:gd name="connsiteY2" fmla="*/ 304800 h 769620"/>
              <a:gd name="connsiteX3" fmla="*/ 0 w 632460"/>
              <a:gd name="connsiteY3" fmla="*/ 769620 h 769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2460" h="769620">
                <a:moveTo>
                  <a:pt x="632460" y="0"/>
                </a:moveTo>
                <a:lnTo>
                  <a:pt x="464820" y="0"/>
                </a:lnTo>
                <a:lnTo>
                  <a:pt x="464820" y="304800"/>
                </a:lnTo>
                <a:lnTo>
                  <a:pt x="0" y="76962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09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9690" y="4096004"/>
            <a:ext cx="6788469" cy="2569136"/>
          </a:xfrm>
          <a:prstGeom prst="rect">
            <a:avLst/>
          </a:prstGeom>
        </p:spPr>
        <p:txBody>
          <a:bodyPr vert="horz" wrap="square" lIns="93260" tIns="93260" rIns="93260" bIns="93260" rtlCol="0" anchor="t">
            <a:noAutofit/>
          </a:bodyPr>
          <a:lstStyle/>
          <a:p>
            <a:pPr marL="0" marR="0" lvl="0" indent="0" algn="ctr" defTabSz="932520" rtl="0" eaLnBrk="1" fontAlgn="auto" latinLnBrk="0" hangingPunct="1">
              <a:lnSpc>
                <a:spcPct val="100000"/>
              </a:lnSpc>
              <a:spcBef>
                <a:spcPts val="122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Microsoft Business Analytics and AI </a:t>
            </a:r>
          </a:p>
          <a:p>
            <a:pPr lvl="0" algn="ctr" defTabSz="932520">
              <a:spcBef>
                <a:spcPts val="1224"/>
              </a:spcBef>
              <a:defRPr/>
            </a:pPr>
            <a:r>
              <a:rPr lang="en-US" sz="2800" b="1" kern="0" spc="-102" dirty="0">
                <a:ln w="3175">
                  <a:noFill/>
                </a:ln>
                <a:solidFill>
                  <a:srgbClr val="0072C6"/>
                </a:solidFill>
                <a:latin typeface="Segoe UI Light"/>
              </a:rPr>
              <a:t>Building Solutions – Environment Setup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Microsoft Machine Learning and Data </a:t>
            </a: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cience Team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04" name="Picture 30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20531" y="1540725"/>
            <a:ext cx="877740" cy="1586684"/>
          </a:xfrm>
          <a:prstGeom prst="rect">
            <a:avLst/>
          </a:prstGeom>
        </p:spPr>
      </p:pic>
      <p:pic>
        <p:nvPicPr>
          <p:cNvPr id="305" name="Picture 30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0544" y="736940"/>
            <a:ext cx="2560320" cy="2560320"/>
          </a:xfrm>
          <a:prstGeom prst="rect">
            <a:avLst/>
          </a:prstGeom>
        </p:spPr>
      </p:pic>
      <p:sp>
        <p:nvSpPr>
          <p:cNvPr id="306" name="Text Placeholder 2"/>
          <p:cNvSpPr txBox="1">
            <a:spLocks/>
          </p:cNvSpPr>
          <p:nvPr/>
        </p:nvSpPr>
        <p:spPr bwMode="auto">
          <a:xfrm>
            <a:off x="5759449" y="4763911"/>
            <a:ext cx="6402388" cy="980673"/>
          </a:xfrm>
          <a:prstGeom prst="rect">
            <a:avLst/>
          </a:prstGeom>
        </p:spPr>
        <p:txBody>
          <a:bodyPr vert="horz" wrap="square" lIns="146304" tIns="109728" rIns="146304" bIns="109728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BCF2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048608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Y15 Enterprise identity theme">
  <a:themeElements>
    <a:clrScheme name="Custom 30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505050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2.xml><?xml version="1.0" encoding="utf-8"?>
<a:theme xmlns:a="http://schemas.openxmlformats.org/drawingml/2006/main" name="1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3.xml><?xml version="1.0" encoding="utf-8"?>
<a:theme xmlns:a="http://schemas.openxmlformats.org/drawingml/2006/main" name="2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4.xml><?xml version="1.0" encoding="utf-8"?>
<a:theme xmlns:a="http://schemas.openxmlformats.org/drawingml/2006/main" name="3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rtana%20Analytics_v1</Template>
  <TotalTime>0</TotalTime>
  <Words>18</Words>
  <Application>Microsoft Office PowerPoint</Application>
  <PresentationFormat>Custom</PresentationFormat>
  <Paragraphs>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SimSun</vt:lpstr>
      <vt:lpstr>Arial</vt:lpstr>
      <vt:lpstr>Calibri</vt:lpstr>
      <vt:lpstr>Segoe UI</vt:lpstr>
      <vt:lpstr>Segoe UI Light</vt:lpstr>
      <vt:lpstr>Wingdings</vt:lpstr>
      <vt:lpstr>FY15 Enterprise identity theme</vt:lpstr>
      <vt:lpstr>1_WHITE TEMPLATE</vt:lpstr>
      <vt:lpstr>2_WHITE TEMPLATE</vt:lpstr>
      <vt:lpstr>3_WHITE TEMPLATE</vt:lpstr>
      <vt:lpstr>think-cell Slide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6-11-27T02:00:30Z</dcterms:created>
  <dcterms:modified xsi:type="dcterms:W3CDTF">2018-04-05T16:5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Ref">
    <vt:lpwstr>https://api.informationprotection.azure.com/api/72f988bf-86f1-41af-91ab-2d7cd011db47</vt:lpwstr>
  </property>
  <property fmtid="{D5CDD505-2E9C-101B-9397-08002B2CF9AE}" pid="5" name="MSIP_Label_f42aa342-8706-4288-bd11-ebb85995028c_SetBy">
    <vt:lpwstr>bwoody@microsoft.com</vt:lpwstr>
  </property>
  <property fmtid="{D5CDD505-2E9C-101B-9397-08002B2CF9AE}" pid="6" name="MSIP_Label_f42aa342-8706-4288-bd11-ebb85995028c_SetDate">
    <vt:lpwstr>2017-05-23T07:39:08.5175870-04:00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